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48" r:id="rId5"/>
  </p:sldMasterIdLst>
  <p:notesMasterIdLst>
    <p:notesMasterId r:id="rId43"/>
  </p:notesMasterIdLst>
  <p:sldIdLst>
    <p:sldId id="265" r:id="rId6"/>
    <p:sldId id="266" r:id="rId7"/>
    <p:sldId id="279" r:id="rId8"/>
    <p:sldId id="2142532647" r:id="rId9"/>
    <p:sldId id="277" r:id="rId10"/>
    <p:sldId id="2142532687" r:id="rId11"/>
    <p:sldId id="270" r:id="rId12"/>
    <p:sldId id="273" r:id="rId13"/>
    <p:sldId id="269" r:id="rId14"/>
    <p:sldId id="258" r:id="rId15"/>
    <p:sldId id="271" r:id="rId16"/>
    <p:sldId id="272" r:id="rId17"/>
    <p:sldId id="2147483639" r:id="rId18"/>
    <p:sldId id="2147483647" r:id="rId19"/>
    <p:sldId id="278" r:id="rId20"/>
    <p:sldId id="259" r:id="rId21"/>
    <p:sldId id="257" r:id="rId22"/>
    <p:sldId id="2147483646" r:id="rId23"/>
    <p:sldId id="260" r:id="rId24"/>
    <p:sldId id="2147483645" r:id="rId25"/>
    <p:sldId id="2147483644" r:id="rId26"/>
    <p:sldId id="2147483638" r:id="rId27"/>
    <p:sldId id="2147483637" r:id="rId28"/>
    <p:sldId id="261" r:id="rId29"/>
    <p:sldId id="2147483610" r:id="rId30"/>
    <p:sldId id="262" r:id="rId31"/>
    <p:sldId id="268" r:id="rId32"/>
    <p:sldId id="256" r:id="rId33"/>
    <p:sldId id="264" r:id="rId34"/>
    <p:sldId id="267" r:id="rId35"/>
    <p:sldId id="274" r:id="rId36"/>
    <p:sldId id="276" r:id="rId37"/>
    <p:sldId id="2147483640" r:id="rId38"/>
    <p:sldId id="2147483643" r:id="rId39"/>
    <p:sldId id="275" r:id="rId40"/>
    <p:sldId id="263" r:id="rId41"/>
    <p:sldId id="2147483641" r:id="rId42"/>
  </p:sldIdLst>
  <p:sldSz cx="12192000" cy="6858000"/>
  <p:notesSz cx="6808788" cy="99409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6434"/>
    <a:srgbClr val="51AF29"/>
    <a:srgbClr val="B3C4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90851B-5936-4C95-B420-2AD7BBB508EF}" v="54" dt="2024-11-25T12:53:29.648"/>
    <p1510:client id="{6095FA30-7C11-47C2-8FF0-4E54B037B1D4}" v="10" dt="2024-11-26T09:11:56.112"/>
    <p1510:client id="{BA17515F-FFED-2D91-5ACE-423E6A6F481B}" v="11" dt="2024-11-25T18:58:42.297"/>
    <p1510:client id="{FA393C0D-DE56-452F-BBA7-E7A7562803E4}" v="349" dt="2024-11-26T10:06:16.8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v Moeslund Ahlgren" userId="S::amoli@aarhus.dk::befeaa27-1e04-471d-bd71-7713c13f6b31" providerId="AD" clId="Web-{0390851B-5936-4C95-B420-2AD7BBB508EF}"/>
    <pc:docChg chg="modSld">
      <pc:chgData name="Liv Moeslund Ahlgren" userId="S::amoli@aarhus.dk::befeaa27-1e04-471d-bd71-7713c13f6b31" providerId="AD" clId="Web-{0390851B-5936-4C95-B420-2AD7BBB508EF}" dt="2024-11-25T12:53:26.804" v="43"/>
      <pc:docMkLst>
        <pc:docMk/>
      </pc:docMkLst>
      <pc:sldChg chg="modSp">
        <pc:chgData name="Liv Moeslund Ahlgren" userId="S::amoli@aarhus.dk::befeaa27-1e04-471d-bd71-7713c13f6b31" providerId="AD" clId="Web-{0390851B-5936-4C95-B420-2AD7BBB508EF}" dt="2024-11-25T12:50:08.379" v="17"/>
        <pc:sldMkLst>
          <pc:docMk/>
          <pc:sldMk cId="3796565239" sldId="261"/>
        </pc:sldMkLst>
        <pc:graphicFrameChg chg="mod modGraphic">
          <ac:chgData name="Liv Moeslund Ahlgren" userId="S::amoli@aarhus.dk::befeaa27-1e04-471d-bd71-7713c13f6b31" providerId="AD" clId="Web-{0390851B-5936-4C95-B420-2AD7BBB508EF}" dt="2024-11-25T12:50:08.379" v="17"/>
          <ac:graphicFrameMkLst>
            <pc:docMk/>
            <pc:sldMk cId="3796565239" sldId="261"/>
            <ac:graphicFrameMk id="4" creationId="{F292774B-8A82-1B6C-18D0-462C2BBEB07A}"/>
          </ac:graphicFrameMkLst>
        </pc:graphicFrameChg>
      </pc:sldChg>
      <pc:sldChg chg="modSp">
        <pc:chgData name="Liv Moeslund Ahlgren" userId="S::amoli@aarhus.dk::befeaa27-1e04-471d-bd71-7713c13f6b31" providerId="AD" clId="Web-{0390851B-5936-4C95-B420-2AD7BBB508EF}" dt="2024-11-25T12:50:20.098" v="19"/>
        <pc:sldMkLst>
          <pc:docMk/>
          <pc:sldMk cId="3893174138" sldId="262"/>
        </pc:sldMkLst>
        <pc:graphicFrameChg chg="mod modGraphic">
          <ac:chgData name="Liv Moeslund Ahlgren" userId="S::amoli@aarhus.dk::befeaa27-1e04-471d-bd71-7713c13f6b31" providerId="AD" clId="Web-{0390851B-5936-4C95-B420-2AD7BBB508EF}" dt="2024-11-25T12:50:20.098" v="19"/>
          <ac:graphicFrameMkLst>
            <pc:docMk/>
            <pc:sldMk cId="3893174138" sldId="262"/>
            <ac:graphicFrameMk id="4" creationId="{F292774B-8A82-1B6C-18D0-462C2BBEB07A}"/>
          </ac:graphicFrameMkLst>
        </pc:graphicFrameChg>
      </pc:sldChg>
      <pc:sldChg chg="modSp">
        <pc:chgData name="Liv Moeslund Ahlgren" userId="S::amoli@aarhus.dk::befeaa27-1e04-471d-bd71-7713c13f6b31" providerId="AD" clId="Web-{0390851B-5936-4C95-B420-2AD7BBB508EF}" dt="2024-11-25T12:53:26.804" v="43"/>
        <pc:sldMkLst>
          <pc:docMk/>
          <pc:sldMk cId="2483691674" sldId="267"/>
        </pc:sldMkLst>
        <pc:graphicFrameChg chg="mod modGraphic">
          <ac:chgData name="Liv Moeslund Ahlgren" userId="S::amoli@aarhus.dk::befeaa27-1e04-471d-bd71-7713c13f6b31" providerId="AD" clId="Web-{0390851B-5936-4C95-B420-2AD7BBB508EF}" dt="2024-11-25T12:53:26.804" v="43"/>
          <ac:graphicFrameMkLst>
            <pc:docMk/>
            <pc:sldMk cId="2483691674" sldId="267"/>
            <ac:graphicFrameMk id="4" creationId="{F292774B-8A82-1B6C-18D0-462C2BBEB07A}"/>
          </ac:graphicFrameMkLst>
        </pc:graphicFrameChg>
      </pc:sldChg>
      <pc:sldChg chg="modSp">
        <pc:chgData name="Liv Moeslund Ahlgren" userId="S::amoli@aarhus.dk::befeaa27-1e04-471d-bd71-7713c13f6b31" providerId="AD" clId="Web-{0390851B-5936-4C95-B420-2AD7BBB508EF}" dt="2024-11-25T12:50:49.332" v="23"/>
        <pc:sldMkLst>
          <pc:docMk/>
          <pc:sldMk cId="3590565809" sldId="268"/>
        </pc:sldMkLst>
        <pc:graphicFrameChg chg="mod modGraphic">
          <ac:chgData name="Liv Moeslund Ahlgren" userId="S::amoli@aarhus.dk::befeaa27-1e04-471d-bd71-7713c13f6b31" providerId="AD" clId="Web-{0390851B-5936-4C95-B420-2AD7BBB508EF}" dt="2024-11-25T12:50:49.332" v="23"/>
          <ac:graphicFrameMkLst>
            <pc:docMk/>
            <pc:sldMk cId="3590565809" sldId="268"/>
            <ac:graphicFrameMk id="4" creationId="{F292774B-8A82-1B6C-18D0-462C2BBEB07A}"/>
          </ac:graphicFrameMkLst>
        </pc:graphicFrameChg>
      </pc:sldChg>
    </pc:docChg>
  </pc:docChgLst>
  <pc:docChgLst>
    <pc:chgData name="Torben Glock" userId="11106b89-72de-413e-b65b-8a42fa6400a0" providerId="ADAL" clId="{6095FA30-7C11-47C2-8FF0-4E54B037B1D4}"/>
    <pc:docChg chg="undo custSel modSld modNotesMaster">
      <pc:chgData name="Torben Glock" userId="11106b89-72de-413e-b65b-8a42fa6400a0" providerId="ADAL" clId="{6095FA30-7C11-47C2-8FF0-4E54B037B1D4}" dt="2024-11-26T09:22:27.749" v="234" actId="1076"/>
      <pc:docMkLst>
        <pc:docMk/>
      </pc:docMkLst>
      <pc:sldChg chg="addSp modSp mod">
        <pc:chgData name="Torben Glock" userId="11106b89-72de-413e-b65b-8a42fa6400a0" providerId="ADAL" clId="{6095FA30-7C11-47C2-8FF0-4E54B037B1D4}" dt="2024-11-26T09:01:45.268" v="122" actId="1076"/>
        <pc:sldMkLst>
          <pc:docMk/>
          <pc:sldMk cId="2110942915" sldId="256"/>
        </pc:sldMkLst>
        <pc:picChg chg="add mod">
          <ac:chgData name="Torben Glock" userId="11106b89-72de-413e-b65b-8a42fa6400a0" providerId="ADAL" clId="{6095FA30-7C11-47C2-8FF0-4E54B037B1D4}" dt="2024-11-26T09:01:45.268" v="122" actId="1076"/>
          <ac:picMkLst>
            <pc:docMk/>
            <pc:sldMk cId="2110942915" sldId="256"/>
            <ac:picMk id="3" creationId="{67F20CD0-9E87-DF99-6917-B1D1A461059D}"/>
          </ac:picMkLst>
        </pc:picChg>
      </pc:sldChg>
      <pc:sldChg chg="addSp modSp mod">
        <pc:chgData name="Torben Glock" userId="11106b89-72de-413e-b65b-8a42fa6400a0" providerId="ADAL" clId="{6095FA30-7C11-47C2-8FF0-4E54B037B1D4}" dt="2024-11-26T09:07:29.748" v="232" actId="20577"/>
        <pc:sldMkLst>
          <pc:docMk/>
          <pc:sldMk cId="3005506244" sldId="259"/>
        </pc:sldMkLst>
        <pc:spChg chg="add mod">
          <ac:chgData name="Torben Glock" userId="11106b89-72de-413e-b65b-8a42fa6400a0" providerId="ADAL" clId="{6095FA30-7C11-47C2-8FF0-4E54B037B1D4}" dt="2024-11-26T09:07:10.631" v="197" actId="113"/>
          <ac:spMkLst>
            <pc:docMk/>
            <pc:sldMk cId="3005506244" sldId="259"/>
            <ac:spMk id="3" creationId="{668BC032-0E62-14DE-0918-25640CB8F542}"/>
          </ac:spMkLst>
        </pc:spChg>
        <pc:spChg chg="mod">
          <ac:chgData name="Torben Glock" userId="11106b89-72de-413e-b65b-8a42fa6400a0" providerId="ADAL" clId="{6095FA30-7C11-47C2-8FF0-4E54B037B1D4}" dt="2024-11-26T09:07:29.748" v="232" actId="20577"/>
          <ac:spMkLst>
            <pc:docMk/>
            <pc:sldMk cId="3005506244" sldId="259"/>
            <ac:spMk id="8" creationId="{5B021FDF-6019-7AC6-C57C-B37ADCBCF3B4}"/>
          </ac:spMkLst>
        </pc:spChg>
        <pc:spChg chg="add mod">
          <ac:chgData name="Torben Glock" userId="11106b89-72de-413e-b65b-8a42fa6400a0" providerId="ADAL" clId="{6095FA30-7C11-47C2-8FF0-4E54B037B1D4}" dt="2024-11-26T09:07:00.628" v="195" actId="113"/>
          <ac:spMkLst>
            <pc:docMk/>
            <pc:sldMk cId="3005506244" sldId="259"/>
            <ac:spMk id="10" creationId="{C1D08B02-49E6-F1C5-B398-2CB5C42CD090}"/>
          </ac:spMkLst>
        </pc:spChg>
        <pc:spChg chg="mod">
          <ac:chgData name="Torben Glock" userId="11106b89-72de-413e-b65b-8a42fa6400a0" providerId="ADAL" clId="{6095FA30-7C11-47C2-8FF0-4E54B037B1D4}" dt="2024-11-26T09:04:29.600" v="130" actId="20577"/>
          <ac:spMkLst>
            <pc:docMk/>
            <pc:sldMk cId="3005506244" sldId="259"/>
            <ac:spMk id="11" creationId="{867E4131-A0CA-8B6A-9315-7A1034C2B65D}"/>
          </ac:spMkLst>
        </pc:spChg>
        <pc:spChg chg="add mod">
          <ac:chgData name="Torben Glock" userId="11106b89-72de-413e-b65b-8a42fa6400a0" providerId="ADAL" clId="{6095FA30-7C11-47C2-8FF0-4E54B037B1D4}" dt="2024-11-26T09:07:04.937" v="196" actId="113"/>
          <ac:spMkLst>
            <pc:docMk/>
            <pc:sldMk cId="3005506244" sldId="259"/>
            <ac:spMk id="12" creationId="{76FE091C-6C89-D65F-A9F5-F3FEC2D6BAC6}"/>
          </ac:spMkLst>
        </pc:spChg>
      </pc:sldChg>
      <pc:sldChg chg="addSp modSp mod">
        <pc:chgData name="Torben Glock" userId="11106b89-72de-413e-b65b-8a42fa6400a0" providerId="ADAL" clId="{6095FA30-7C11-47C2-8FF0-4E54B037B1D4}" dt="2024-11-26T09:01:09.185" v="117" actId="1076"/>
        <pc:sldMkLst>
          <pc:docMk/>
          <pc:sldMk cId="3796565239" sldId="261"/>
        </pc:sldMkLst>
        <pc:graphicFrameChg chg="mod">
          <ac:chgData name="Torben Glock" userId="11106b89-72de-413e-b65b-8a42fa6400a0" providerId="ADAL" clId="{6095FA30-7C11-47C2-8FF0-4E54B037B1D4}" dt="2024-11-26T08:57:55.751" v="108" actId="1076"/>
          <ac:graphicFrameMkLst>
            <pc:docMk/>
            <pc:sldMk cId="3796565239" sldId="261"/>
            <ac:graphicFrameMk id="4" creationId="{F292774B-8A82-1B6C-18D0-462C2BBEB07A}"/>
          </ac:graphicFrameMkLst>
        </pc:graphicFrameChg>
        <pc:picChg chg="add mod">
          <ac:chgData name="Torben Glock" userId="11106b89-72de-413e-b65b-8a42fa6400a0" providerId="ADAL" clId="{6095FA30-7C11-47C2-8FF0-4E54B037B1D4}" dt="2024-11-26T09:01:09.185" v="117" actId="1076"/>
          <ac:picMkLst>
            <pc:docMk/>
            <pc:sldMk cId="3796565239" sldId="261"/>
            <ac:picMk id="3" creationId="{DD8A2CEB-0AF0-6813-FDEC-147E44346DD0}"/>
          </ac:picMkLst>
        </pc:picChg>
      </pc:sldChg>
      <pc:sldChg chg="addSp modSp mod">
        <pc:chgData name="Torben Glock" userId="11106b89-72de-413e-b65b-8a42fa6400a0" providerId="ADAL" clId="{6095FA30-7C11-47C2-8FF0-4E54B037B1D4}" dt="2024-11-26T09:00:42.260" v="114" actId="1076"/>
        <pc:sldMkLst>
          <pc:docMk/>
          <pc:sldMk cId="3893174138" sldId="262"/>
        </pc:sldMkLst>
        <pc:graphicFrameChg chg="mod">
          <ac:chgData name="Torben Glock" userId="11106b89-72de-413e-b65b-8a42fa6400a0" providerId="ADAL" clId="{6095FA30-7C11-47C2-8FF0-4E54B037B1D4}" dt="2024-11-26T09:00:31.284" v="112" actId="1076"/>
          <ac:graphicFrameMkLst>
            <pc:docMk/>
            <pc:sldMk cId="3893174138" sldId="262"/>
            <ac:graphicFrameMk id="4" creationId="{F292774B-8A82-1B6C-18D0-462C2BBEB07A}"/>
          </ac:graphicFrameMkLst>
        </pc:graphicFrameChg>
        <pc:picChg chg="add mod">
          <ac:chgData name="Torben Glock" userId="11106b89-72de-413e-b65b-8a42fa6400a0" providerId="ADAL" clId="{6095FA30-7C11-47C2-8FF0-4E54B037B1D4}" dt="2024-11-26T09:00:42.260" v="114" actId="1076"/>
          <ac:picMkLst>
            <pc:docMk/>
            <pc:sldMk cId="3893174138" sldId="262"/>
            <ac:picMk id="3" creationId="{EF373FF5-2577-550B-4584-43C650D74CC9}"/>
          </ac:picMkLst>
        </pc:picChg>
      </pc:sldChg>
      <pc:sldChg chg="addSp modSp mod">
        <pc:chgData name="Torben Glock" userId="11106b89-72de-413e-b65b-8a42fa6400a0" providerId="ADAL" clId="{6095FA30-7C11-47C2-8FF0-4E54B037B1D4}" dt="2024-11-26T09:02:00.098" v="125" actId="1076"/>
        <pc:sldMkLst>
          <pc:docMk/>
          <pc:sldMk cId="545693632" sldId="264"/>
        </pc:sldMkLst>
        <pc:graphicFrameChg chg="mod">
          <ac:chgData name="Torben Glock" userId="11106b89-72de-413e-b65b-8a42fa6400a0" providerId="ADAL" clId="{6095FA30-7C11-47C2-8FF0-4E54B037B1D4}" dt="2024-11-26T09:02:00.098" v="125" actId="1076"/>
          <ac:graphicFrameMkLst>
            <pc:docMk/>
            <pc:sldMk cId="545693632" sldId="264"/>
            <ac:graphicFrameMk id="4" creationId="{F292774B-8A82-1B6C-18D0-462C2BBEB07A}"/>
          </ac:graphicFrameMkLst>
        </pc:graphicFrameChg>
        <pc:picChg chg="add mod">
          <ac:chgData name="Torben Glock" userId="11106b89-72de-413e-b65b-8a42fa6400a0" providerId="ADAL" clId="{6095FA30-7C11-47C2-8FF0-4E54B037B1D4}" dt="2024-11-26T09:01:56.194" v="124" actId="1076"/>
          <ac:picMkLst>
            <pc:docMk/>
            <pc:sldMk cId="545693632" sldId="264"/>
            <ac:picMk id="3" creationId="{8254AFCF-0281-FF2B-8F3B-26DA9BB0B5C5}"/>
          </ac:picMkLst>
        </pc:picChg>
      </pc:sldChg>
      <pc:sldChg chg="addSp modSp mod">
        <pc:chgData name="Torben Glock" userId="11106b89-72de-413e-b65b-8a42fa6400a0" providerId="ADAL" clId="{6095FA30-7C11-47C2-8FF0-4E54B037B1D4}" dt="2024-11-26T09:02:09.352" v="127" actId="1076"/>
        <pc:sldMkLst>
          <pc:docMk/>
          <pc:sldMk cId="2483691674" sldId="267"/>
        </pc:sldMkLst>
        <pc:picChg chg="add mod">
          <ac:chgData name="Torben Glock" userId="11106b89-72de-413e-b65b-8a42fa6400a0" providerId="ADAL" clId="{6095FA30-7C11-47C2-8FF0-4E54B037B1D4}" dt="2024-11-26T09:02:09.352" v="127" actId="1076"/>
          <ac:picMkLst>
            <pc:docMk/>
            <pc:sldMk cId="2483691674" sldId="267"/>
            <ac:picMk id="3" creationId="{A0773E85-52A4-9C97-554F-627E6A008B5C}"/>
          </ac:picMkLst>
        </pc:picChg>
      </pc:sldChg>
      <pc:sldChg chg="addSp modSp mod">
        <pc:chgData name="Torben Glock" userId="11106b89-72de-413e-b65b-8a42fa6400a0" providerId="ADAL" clId="{6095FA30-7C11-47C2-8FF0-4E54B037B1D4}" dt="2024-11-26T09:01:34.498" v="120" actId="1076"/>
        <pc:sldMkLst>
          <pc:docMk/>
          <pc:sldMk cId="3590565809" sldId="268"/>
        </pc:sldMkLst>
        <pc:graphicFrameChg chg="mod">
          <ac:chgData name="Torben Glock" userId="11106b89-72de-413e-b65b-8a42fa6400a0" providerId="ADAL" clId="{6095FA30-7C11-47C2-8FF0-4E54B037B1D4}" dt="2024-11-26T09:01:34.498" v="120" actId="1076"/>
          <ac:graphicFrameMkLst>
            <pc:docMk/>
            <pc:sldMk cId="3590565809" sldId="268"/>
            <ac:graphicFrameMk id="4" creationId="{F292774B-8A82-1B6C-18D0-462C2BBEB07A}"/>
          </ac:graphicFrameMkLst>
        </pc:graphicFrameChg>
        <pc:picChg chg="add mod">
          <ac:chgData name="Torben Glock" userId="11106b89-72de-413e-b65b-8a42fa6400a0" providerId="ADAL" clId="{6095FA30-7C11-47C2-8FF0-4E54B037B1D4}" dt="2024-11-26T09:01:28.514" v="119" actId="1076"/>
          <ac:picMkLst>
            <pc:docMk/>
            <pc:sldMk cId="3590565809" sldId="268"/>
            <ac:picMk id="3" creationId="{D6161155-4E23-2C2E-CDCA-9586F3549CB8}"/>
          </ac:picMkLst>
        </pc:picChg>
      </pc:sldChg>
      <pc:sldChg chg="modSp mod">
        <pc:chgData name="Torben Glock" userId="11106b89-72de-413e-b65b-8a42fa6400a0" providerId="ADAL" clId="{6095FA30-7C11-47C2-8FF0-4E54B037B1D4}" dt="2024-11-13T11:50:25.132" v="97" actId="20577"/>
        <pc:sldMkLst>
          <pc:docMk/>
          <pc:sldMk cId="1479824703" sldId="272"/>
        </pc:sldMkLst>
        <pc:spChg chg="mod">
          <ac:chgData name="Torben Glock" userId="11106b89-72de-413e-b65b-8a42fa6400a0" providerId="ADAL" clId="{6095FA30-7C11-47C2-8FF0-4E54B037B1D4}" dt="2024-11-13T11:50:25.132" v="97" actId="20577"/>
          <ac:spMkLst>
            <pc:docMk/>
            <pc:sldMk cId="1479824703" sldId="272"/>
            <ac:spMk id="8" creationId="{5B021FDF-6019-7AC6-C57C-B37ADCBCF3B4}"/>
          </ac:spMkLst>
        </pc:spChg>
      </pc:sldChg>
      <pc:sldChg chg="modNotes">
        <pc:chgData name="Torben Glock" userId="11106b89-72de-413e-b65b-8a42fa6400a0" providerId="ADAL" clId="{6095FA30-7C11-47C2-8FF0-4E54B037B1D4}" dt="2024-11-26T09:11:56.112" v="233"/>
        <pc:sldMkLst>
          <pc:docMk/>
          <pc:sldMk cId="2924114487" sldId="277"/>
        </pc:sldMkLst>
      </pc:sldChg>
      <pc:sldChg chg="modSp mod">
        <pc:chgData name="Torben Glock" userId="11106b89-72de-413e-b65b-8a42fa6400a0" providerId="ADAL" clId="{6095FA30-7C11-47C2-8FF0-4E54B037B1D4}" dt="2024-11-26T09:22:27.749" v="234" actId="1076"/>
        <pc:sldMkLst>
          <pc:docMk/>
          <pc:sldMk cId="710119179" sldId="279"/>
        </pc:sldMkLst>
        <pc:spChg chg="mod">
          <ac:chgData name="Torben Glock" userId="11106b89-72de-413e-b65b-8a42fa6400a0" providerId="ADAL" clId="{6095FA30-7C11-47C2-8FF0-4E54B037B1D4}" dt="2024-11-26T09:22:27.749" v="234" actId="1076"/>
          <ac:spMkLst>
            <pc:docMk/>
            <pc:sldMk cId="710119179" sldId="279"/>
            <ac:spMk id="2" creationId="{00000000-0000-0000-0000-000000000000}"/>
          </ac:spMkLst>
        </pc:spChg>
        <pc:spChg chg="mod">
          <ac:chgData name="Torben Glock" userId="11106b89-72de-413e-b65b-8a42fa6400a0" providerId="ADAL" clId="{6095FA30-7C11-47C2-8FF0-4E54B037B1D4}" dt="2024-11-26T08:54:19.012" v="98" actId="20577"/>
          <ac:spMkLst>
            <pc:docMk/>
            <pc:sldMk cId="710119179" sldId="279"/>
            <ac:spMk id="33" creationId="{7A7370FA-419D-13DC-22E3-557D8F383E33}"/>
          </ac:spMkLst>
        </pc:spChg>
      </pc:sldChg>
      <pc:sldChg chg="modSp mod">
        <pc:chgData name="Torben Glock" userId="11106b89-72de-413e-b65b-8a42fa6400a0" providerId="ADAL" clId="{6095FA30-7C11-47C2-8FF0-4E54B037B1D4}" dt="2024-11-26T08:56:45.100" v="104" actId="20577"/>
        <pc:sldMkLst>
          <pc:docMk/>
          <pc:sldMk cId="1628057314" sldId="2147483647"/>
        </pc:sldMkLst>
        <pc:spChg chg="mod">
          <ac:chgData name="Torben Glock" userId="11106b89-72de-413e-b65b-8a42fa6400a0" providerId="ADAL" clId="{6095FA30-7C11-47C2-8FF0-4E54B037B1D4}" dt="2024-11-26T08:56:45.100" v="104" actId="20577"/>
          <ac:spMkLst>
            <pc:docMk/>
            <pc:sldMk cId="1628057314" sldId="2147483647"/>
            <ac:spMk id="7" creationId="{6DCD5A0D-677B-F31F-2203-FE36638934F9}"/>
          </ac:spMkLst>
        </pc:spChg>
      </pc:sldChg>
    </pc:docChg>
  </pc:docChgLst>
  <pc:docChgLst>
    <pc:chgData name="Gæstebruger" userId="S::urn:spo:anon#b950ea12af07c0b1779e38ed72fb97593ad0bfbb63b20add32aeba76c333e836::" providerId="AD" clId="Web-{E59266FC-3534-D068-10AC-FEBCDFDDCB56}"/>
    <pc:docChg chg="modSld">
      <pc:chgData name="Gæstebruger" userId="S::urn:spo:anon#b950ea12af07c0b1779e38ed72fb97593ad0bfbb63b20add32aeba76c333e836::" providerId="AD" clId="Web-{E59266FC-3534-D068-10AC-FEBCDFDDCB56}" dt="2024-11-21T09:48:12.717" v="4" actId="1076"/>
      <pc:docMkLst>
        <pc:docMk/>
      </pc:docMkLst>
      <pc:sldChg chg="modSp">
        <pc:chgData name="Gæstebruger" userId="S::urn:spo:anon#b950ea12af07c0b1779e38ed72fb97593ad0bfbb63b20add32aeba76c333e836::" providerId="AD" clId="Web-{E59266FC-3534-D068-10AC-FEBCDFDDCB56}" dt="2024-11-21T09:48:12.717" v="4" actId="1076"/>
        <pc:sldMkLst>
          <pc:docMk/>
          <pc:sldMk cId="2164484690" sldId="258"/>
        </pc:sldMkLst>
        <pc:spChg chg="mod">
          <ac:chgData name="Gæstebruger" userId="S::urn:spo:anon#b950ea12af07c0b1779e38ed72fb97593ad0bfbb63b20add32aeba76c333e836::" providerId="AD" clId="Web-{E59266FC-3534-D068-10AC-FEBCDFDDCB56}" dt="2024-11-21T09:48:06.936" v="2" actId="1076"/>
          <ac:spMkLst>
            <pc:docMk/>
            <pc:sldMk cId="2164484690" sldId="258"/>
            <ac:spMk id="12" creationId="{68F69966-4E6D-5A86-7ACD-2B0E1B06DEB5}"/>
          </ac:spMkLst>
        </pc:spChg>
        <pc:spChg chg="mod">
          <ac:chgData name="Gæstebruger" userId="S::urn:spo:anon#b950ea12af07c0b1779e38ed72fb97593ad0bfbb63b20add32aeba76c333e836::" providerId="AD" clId="Web-{E59266FC-3534-D068-10AC-FEBCDFDDCB56}" dt="2024-11-21T09:48:12.717" v="4" actId="1076"/>
          <ac:spMkLst>
            <pc:docMk/>
            <pc:sldMk cId="2164484690" sldId="258"/>
            <ac:spMk id="55" creationId="{8F80CB54-4596-4D66-E4E0-B1FC294CDF58}"/>
          </ac:spMkLst>
        </pc:spChg>
      </pc:sldChg>
    </pc:docChg>
  </pc:docChgLst>
  <pc:docChgLst>
    <pc:chgData name="Rikke Bækgaard Christensen" userId="895b20d1-8a83-4427-801b-a124aada3673" providerId="ADAL" clId="{FA393C0D-DE56-452F-BBA7-E7A7562803E4}"/>
    <pc:docChg chg="undo custSel addSld delSld modSld sldOrd">
      <pc:chgData name="Rikke Bækgaard Christensen" userId="895b20d1-8a83-4427-801b-a124aada3673" providerId="ADAL" clId="{FA393C0D-DE56-452F-BBA7-E7A7562803E4}" dt="2024-11-26T10:06:16.829" v="6986" actId="20577"/>
      <pc:docMkLst>
        <pc:docMk/>
      </pc:docMkLst>
      <pc:sldChg chg="delSp modSp add del mod">
        <pc:chgData name="Rikke Bækgaard Christensen" userId="895b20d1-8a83-4427-801b-a124aada3673" providerId="ADAL" clId="{FA393C0D-DE56-452F-BBA7-E7A7562803E4}" dt="2024-11-22T09:22:21.615" v="735" actId="47"/>
        <pc:sldMkLst>
          <pc:docMk/>
          <pc:sldMk cId="863568386" sldId="256"/>
        </pc:sldMkLst>
        <pc:spChg chg="mod">
          <ac:chgData name="Rikke Bækgaard Christensen" userId="895b20d1-8a83-4427-801b-a124aada3673" providerId="ADAL" clId="{FA393C0D-DE56-452F-BBA7-E7A7562803E4}" dt="2024-11-22T09:22:02.814" v="734" actId="20577"/>
          <ac:spMkLst>
            <pc:docMk/>
            <pc:sldMk cId="863568386" sldId="256"/>
            <ac:spMk id="33" creationId="{6600CE70-5D3F-706D-085B-B5F91B091721}"/>
          </ac:spMkLst>
        </pc:spChg>
        <pc:spChg chg="del mod">
          <ac:chgData name="Rikke Bækgaard Christensen" userId="895b20d1-8a83-4427-801b-a124aada3673" providerId="ADAL" clId="{FA393C0D-DE56-452F-BBA7-E7A7562803E4}" dt="2024-11-22T09:21:58.513" v="733"/>
          <ac:spMkLst>
            <pc:docMk/>
            <pc:sldMk cId="863568386" sldId="256"/>
            <ac:spMk id="34" creationId="{0D9DAAB9-C52D-5477-07E8-BB12E8D16959}"/>
          </ac:spMkLst>
        </pc:spChg>
      </pc:sldChg>
      <pc:sldChg chg="add del">
        <pc:chgData name="Rikke Bækgaard Christensen" userId="895b20d1-8a83-4427-801b-a124aada3673" providerId="ADAL" clId="{FA393C0D-DE56-452F-BBA7-E7A7562803E4}" dt="2024-11-22T09:46:45.346" v="827" actId="47"/>
        <pc:sldMkLst>
          <pc:docMk/>
          <pc:sldMk cId="1007100174" sldId="256"/>
        </pc:sldMkLst>
      </pc:sldChg>
      <pc:sldChg chg="delSp modSp add del mod ord">
        <pc:chgData name="Rikke Bækgaard Christensen" userId="895b20d1-8a83-4427-801b-a124aada3673" providerId="ADAL" clId="{FA393C0D-DE56-452F-BBA7-E7A7562803E4}" dt="2024-11-12T19:36:27.105" v="515" actId="47"/>
        <pc:sldMkLst>
          <pc:docMk/>
          <pc:sldMk cId="1680979986" sldId="256"/>
        </pc:sldMkLst>
        <pc:spChg chg="mod">
          <ac:chgData name="Rikke Bækgaard Christensen" userId="895b20d1-8a83-4427-801b-a124aada3673" providerId="ADAL" clId="{FA393C0D-DE56-452F-BBA7-E7A7562803E4}" dt="2024-11-12T19:21:37.289" v="191" actId="27636"/>
          <ac:spMkLst>
            <pc:docMk/>
            <pc:sldMk cId="1680979986" sldId="256"/>
            <ac:spMk id="2" creationId="{D4F0CE0B-C54F-33FD-1EC5-99D3EB45B46B}"/>
          </ac:spMkLst>
        </pc:spChg>
        <pc:picChg chg="del">
          <ac:chgData name="Rikke Bækgaard Christensen" userId="895b20d1-8a83-4427-801b-a124aada3673" providerId="ADAL" clId="{FA393C0D-DE56-452F-BBA7-E7A7562803E4}" dt="2024-11-12T19:35:52.704" v="505" actId="21"/>
          <ac:picMkLst>
            <pc:docMk/>
            <pc:sldMk cId="1680979986" sldId="256"/>
            <ac:picMk id="3" creationId="{3EA33B70-4A23-FD92-1A46-9D5A6B7335CA}"/>
          </ac:picMkLst>
        </pc:picChg>
      </pc:sldChg>
      <pc:sldChg chg="modSp add mod">
        <pc:chgData name="Rikke Bækgaard Christensen" userId="895b20d1-8a83-4427-801b-a124aada3673" providerId="ADAL" clId="{FA393C0D-DE56-452F-BBA7-E7A7562803E4}" dt="2024-11-25T12:02:42.062" v="6520" actId="20577"/>
        <pc:sldMkLst>
          <pc:docMk/>
          <pc:sldMk cId="2110942915" sldId="256"/>
        </pc:sldMkLst>
        <pc:spChg chg="mod">
          <ac:chgData name="Rikke Bækgaard Christensen" userId="895b20d1-8a83-4427-801b-a124aada3673" providerId="ADAL" clId="{FA393C0D-DE56-452F-BBA7-E7A7562803E4}" dt="2024-11-22T09:52:16.829" v="1055" actId="20577"/>
          <ac:spMkLst>
            <pc:docMk/>
            <pc:sldMk cId="2110942915" sldId="256"/>
            <ac:spMk id="2" creationId="{3CF251FA-1844-A8C5-F468-236DFE333E84}"/>
          </ac:spMkLst>
        </pc:spChg>
        <pc:graphicFrameChg chg="modGraphic">
          <ac:chgData name="Rikke Bækgaard Christensen" userId="895b20d1-8a83-4427-801b-a124aada3673" providerId="ADAL" clId="{FA393C0D-DE56-452F-BBA7-E7A7562803E4}" dt="2024-11-25T12:02:42.062" v="6520" actId="20577"/>
          <ac:graphicFrameMkLst>
            <pc:docMk/>
            <pc:sldMk cId="2110942915" sldId="256"/>
            <ac:graphicFrameMk id="4" creationId="{F292774B-8A82-1B6C-18D0-462C2BBEB07A}"/>
          </ac:graphicFrameMkLst>
        </pc:graphicFrameChg>
      </pc:sldChg>
      <pc:sldChg chg="addSp delSp modSp add mod modShow">
        <pc:chgData name="Rikke Bækgaard Christensen" userId="895b20d1-8a83-4427-801b-a124aada3673" providerId="ADAL" clId="{FA393C0D-DE56-452F-BBA7-E7A7562803E4}" dt="2024-11-22T09:12:50.728" v="586" actId="729"/>
        <pc:sldMkLst>
          <pc:docMk/>
          <pc:sldMk cId="1678864619" sldId="257"/>
        </pc:sldMkLst>
        <pc:spChg chg="del">
          <ac:chgData name="Rikke Bækgaard Christensen" userId="895b20d1-8a83-4427-801b-a124aada3673" providerId="ADAL" clId="{FA393C0D-DE56-452F-BBA7-E7A7562803E4}" dt="2024-11-12T19:25:11.812" v="239" actId="478"/>
          <ac:spMkLst>
            <pc:docMk/>
            <pc:sldMk cId="1678864619" sldId="257"/>
            <ac:spMk id="3" creationId="{DB08C7E4-CD58-2669-C120-F9C454DCD07A}"/>
          </ac:spMkLst>
        </pc:spChg>
        <pc:spChg chg="mod">
          <ac:chgData name="Rikke Bækgaard Christensen" userId="895b20d1-8a83-4427-801b-a124aada3673" providerId="ADAL" clId="{FA393C0D-DE56-452F-BBA7-E7A7562803E4}" dt="2024-11-12T19:25:38.540" v="254" actId="20577"/>
          <ac:spMkLst>
            <pc:docMk/>
            <pc:sldMk cId="1678864619" sldId="257"/>
            <ac:spMk id="8" creationId="{5B021FDF-6019-7AC6-C57C-B37ADCBCF3B4}"/>
          </ac:spMkLst>
        </pc:spChg>
        <pc:spChg chg="del">
          <ac:chgData name="Rikke Bækgaard Christensen" userId="895b20d1-8a83-4427-801b-a124aada3673" providerId="ADAL" clId="{FA393C0D-DE56-452F-BBA7-E7A7562803E4}" dt="2024-11-12T19:25:18.131" v="241" actId="478"/>
          <ac:spMkLst>
            <pc:docMk/>
            <pc:sldMk cId="1678864619" sldId="257"/>
            <ac:spMk id="10" creationId="{9B2FB722-4EFF-F376-033B-BE525CD3F462}"/>
          </ac:spMkLst>
        </pc:spChg>
        <pc:spChg chg="add del mod">
          <ac:chgData name="Rikke Bækgaard Christensen" userId="895b20d1-8a83-4427-801b-a124aada3673" providerId="ADAL" clId="{FA393C0D-DE56-452F-BBA7-E7A7562803E4}" dt="2024-11-12T19:25:15.230" v="240" actId="478"/>
          <ac:spMkLst>
            <pc:docMk/>
            <pc:sldMk cId="1678864619" sldId="257"/>
            <ac:spMk id="12" creationId="{226F5258-3262-AB69-6B8E-1D21C911A714}"/>
          </ac:spMkLst>
        </pc:spChg>
        <pc:spChg chg="add mod">
          <ac:chgData name="Rikke Bækgaard Christensen" userId="895b20d1-8a83-4427-801b-a124aada3673" providerId="ADAL" clId="{FA393C0D-DE56-452F-BBA7-E7A7562803E4}" dt="2024-11-12T19:25:31.830" v="245" actId="1076"/>
          <ac:spMkLst>
            <pc:docMk/>
            <pc:sldMk cId="1678864619" sldId="257"/>
            <ac:spMk id="15" creationId="{CD2E7CA1-5B5B-C354-634E-3E5DE66F1091}"/>
          </ac:spMkLst>
        </pc:spChg>
        <pc:picChg chg="add mod">
          <ac:chgData name="Rikke Bækgaard Christensen" userId="895b20d1-8a83-4427-801b-a124aada3673" providerId="ADAL" clId="{FA393C0D-DE56-452F-BBA7-E7A7562803E4}" dt="2024-11-12T19:25:27.406" v="244" actId="1076"/>
          <ac:picMkLst>
            <pc:docMk/>
            <pc:sldMk cId="1678864619" sldId="257"/>
            <ac:picMk id="13" creationId="{12D3C898-AF18-D20D-001E-D9EE9C327EF7}"/>
          </ac:picMkLst>
        </pc:picChg>
        <pc:picChg chg="add mod">
          <ac:chgData name="Rikke Bækgaard Christensen" userId="895b20d1-8a83-4427-801b-a124aada3673" providerId="ADAL" clId="{FA393C0D-DE56-452F-BBA7-E7A7562803E4}" dt="2024-11-12T19:25:22.792" v="243" actId="1076"/>
          <ac:picMkLst>
            <pc:docMk/>
            <pc:sldMk cId="1678864619" sldId="257"/>
            <ac:picMk id="14" creationId="{81942EF4-524B-E88F-14AA-DB9719653048}"/>
          </ac:picMkLst>
        </pc:picChg>
      </pc:sldChg>
      <pc:sldChg chg="add del">
        <pc:chgData name="Rikke Bækgaard Christensen" userId="895b20d1-8a83-4427-801b-a124aada3673" providerId="ADAL" clId="{FA393C0D-DE56-452F-BBA7-E7A7562803E4}" dt="2024-11-12T19:24:14.632" v="232" actId="47"/>
        <pc:sldMkLst>
          <pc:docMk/>
          <pc:sldMk cId="3299298844" sldId="257"/>
        </pc:sldMkLst>
      </pc:sldChg>
      <pc:sldChg chg="delSp modSp mod">
        <pc:chgData name="Rikke Bækgaard Christensen" userId="895b20d1-8a83-4427-801b-a124aada3673" providerId="ADAL" clId="{FA393C0D-DE56-452F-BBA7-E7A7562803E4}" dt="2024-11-25T09:16:22.712" v="1561" actId="478"/>
        <pc:sldMkLst>
          <pc:docMk/>
          <pc:sldMk cId="2164484690" sldId="258"/>
        </pc:sldMkLst>
        <pc:spChg chg="mod">
          <ac:chgData name="Rikke Bækgaard Christensen" userId="895b20d1-8a83-4427-801b-a124aada3673" providerId="ADAL" clId="{FA393C0D-DE56-452F-BBA7-E7A7562803E4}" dt="2024-11-19T13:16:05.301" v="584" actId="14100"/>
          <ac:spMkLst>
            <pc:docMk/>
            <pc:sldMk cId="2164484690" sldId="258"/>
            <ac:spMk id="12" creationId="{68F69966-4E6D-5A86-7ACD-2B0E1B06DEB5}"/>
          </ac:spMkLst>
        </pc:spChg>
        <pc:spChg chg="del">
          <ac:chgData name="Rikke Bækgaard Christensen" userId="895b20d1-8a83-4427-801b-a124aada3673" providerId="ADAL" clId="{FA393C0D-DE56-452F-BBA7-E7A7562803E4}" dt="2024-11-25T09:16:21.684" v="1560" actId="478"/>
          <ac:spMkLst>
            <pc:docMk/>
            <pc:sldMk cId="2164484690" sldId="258"/>
            <ac:spMk id="45" creationId="{649C4E72-6A77-72B9-21AA-23449474E0C2}"/>
          </ac:spMkLst>
        </pc:spChg>
        <pc:spChg chg="del">
          <ac:chgData name="Rikke Bækgaard Christensen" userId="895b20d1-8a83-4427-801b-a124aada3673" providerId="ADAL" clId="{FA393C0D-DE56-452F-BBA7-E7A7562803E4}" dt="2024-11-25T09:16:18.938" v="1558" actId="478"/>
          <ac:spMkLst>
            <pc:docMk/>
            <pc:sldMk cId="2164484690" sldId="258"/>
            <ac:spMk id="49" creationId="{0CA26CF8-7CCA-38E5-7E8D-73D4F803765E}"/>
          </ac:spMkLst>
        </pc:spChg>
        <pc:spChg chg="mod">
          <ac:chgData name="Rikke Bækgaard Christensen" userId="895b20d1-8a83-4427-801b-a124aada3673" providerId="ADAL" clId="{FA393C0D-DE56-452F-BBA7-E7A7562803E4}" dt="2024-11-19T13:16:08.889" v="585" actId="1076"/>
          <ac:spMkLst>
            <pc:docMk/>
            <pc:sldMk cId="2164484690" sldId="258"/>
            <ac:spMk id="55" creationId="{8F80CB54-4596-4D66-E4E0-B1FC294CDF58}"/>
          </ac:spMkLst>
        </pc:spChg>
        <pc:cxnChg chg="del">
          <ac:chgData name="Rikke Bækgaard Christensen" userId="895b20d1-8a83-4427-801b-a124aada3673" providerId="ADAL" clId="{FA393C0D-DE56-452F-BBA7-E7A7562803E4}" dt="2024-11-25T09:16:22.712" v="1561" actId="478"/>
          <ac:cxnSpMkLst>
            <pc:docMk/>
            <pc:sldMk cId="2164484690" sldId="258"/>
            <ac:cxnSpMk id="44" creationId="{35B8B252-F4D9-295E-F8B6-CFF920B4ECDB}"/>
          </ac:cxnSpMkLst>
        </pc:cxnChg>
        <pc:cxnChg chg="del">
          <ac:chgData name="Rikke Bækgaard Christensen" userId="895b20d1-8a83-4427-801b-a124aada3673" providerId="ADAL" clId="{FA393C0D-DE56-452F-BBA7-E7A7562803E4}" dt="2024-11-25T09:16:19.740" v="1559" actId="478"/>
          <ac:cxnSpMkLst>
            <pc:docMk/>
            <pc:sldMk cId="2164484690" sldId="258"/>
            <ac:cxnSpMk id="48" creationId="{419614B4-EBE5-4506-B365-3B5439C29C71}"/>
          </ac:cxnSpMkLst>
        </pc:cxnChg>
      </pc:sldChg>
      <pc:sldChg chg="add del">
        <pc:chgData name="Rikke Bækgaard Christensen" userId="895b20d1-8a83-4427-801b-a124aada3673" providerId="ADAL" clId="{FA393C0D-DE56-452F-BBA7-E7A7562803E4}" dt="2024-11-12T19:24:21.536" v="234" actId="47"/>
        <pc:sldMkLst>
          <pc:docMk/>
          <pc:sldMk cId="1857221856" sldId="259"/>
        </pc:sldMkLst>
      </pc:sldChg>
      <pc:sldChg chg="addSp delSp modSp add mod ord">
        <pc:chgData name="Rikke Bækgaard Christensen" userId="895b20d1-8a83-4427-801b-a124aada3673" providerId="ADAL" clId="{FA393C0D-DE56-452F-BBA7-E7A7562803E4}" dt="2024-11-12T19:37:25.422" v="520"/>
        <pc:sldMkLst>
          <pc:docMk/>
          <pc:sldMk cId="3005506244" sldId="259"/>
        </pc:sldMkLst>
        <pc:spChg chg="mod">
          <ac:chgData name="Rikke Bækgaard Christensen" userId="895b20d1-8a83-4427-801b-a124aada3673" providerId="ADAL" clId="{FA393C0D-DE56-452F-BBA7-E7A7562803E4}" dt="2024-11-12T19:33:11.232" v="392" actId="20577"/>
          <ac:spMkLst>
            <pc:docMk/>
            <pc:sldMk cId="3005506244" sldId="259"/>
            <ac:spMk id="8" creationId="{5B021FDF-6019-7AC6-C57C-B37ADCBCF3B4}"/>
          </ac:spMkLst>
        </pc:spChg>
        <pc:spChg chg="add del mod">
          <ac:chgData name="Rikke Bækgaard Christensen" userId="895b20d1-8a83-4427-801b-a124aada3673" providerId="ADAL" clId="{FA393C0D-DE56-452F-BBA7-E7A7562803E4}" dt="2024-11-12T19:26:19.360" v="274" actId="478"/>
          <ac:spMkLst>
            <pc:docMk/>
            <pc:sldMk cId="3005506244" sldId="259"/>
            <ac:spMk id="10" creationId="{D7900A2D-FD0D-4573-9411-1722A2EC1FD9}"/>
          </ac:spMkLst>
        </pc:spChg>
        <pc:spChg chg="add mod">
          <ac:chgData name="Rikke Bækgaard Christensen" userId="895b20d1-8a83-4427-801b-a124aada3673" providerId="ADAL" clId="{FA393C0D-DE56-452F-BBA7-E7A7562803E4}" dt="2024-11-12T19:31:18.821" v="345" actId="1076"/>
          <ac:spMkLst>
            <pc:docMk/>
            <pc:sldMk cId="3005506244" sldId="259"/>
            <ac:spMk id="11" creationId="{867E4131-A0CA-8B6A-9315-7A1034C2B65D}"/>
          </ac:spMkLst>
        </pc:spChg>
        <pc:spChg chg="del">
          <ac:chgData name="Rikke Bækgaard Christensen" userId="895b20d1-8a83-4427-801b-a124aada3673" providerId="ADAL" clId="{FA393C0D-DE56-452F-BBA7-E7A7562803E4}" dt="2024-11-12T19:26:21.531" v="275" actId="478"/>
          <ac:spMkLst>
            <pc:docMk/>
            <pc:sldMk cId="3005506244" sldId="259"/>
            <ac:spMk id="15" creationId="{CD2E7CA1-5B5B-C354-634E-3E5DE66F1091}"/>
          </ac:spMkLst>
        </pc:spChg>
        <pc:spChg chg="add mod">
          <ac:chgData name="Rikke Bækgaard Christensen" userId="895b20d1-8a83-4427-801b-a124aada3673" providerId="ADAL" clId="{FA393C0D-DE56-452F-BBA7-E7A7562803E4}" dt="2024-11-12T19:31:52.692" v="357" actId="5793"/>
          <ac:spMkLst>
            <pc:docMk/>
            <pc:sldMk cId="3005506244" sldId="259"/>
            <ac:spMk id="16" creationId="{FD20B7EE-2546-5F8B-02C9-873817AFCE27}"/>
          </ac:spMkLst>
        </pc:spChg>
        <pc:spChg chg="add mod">
          <ac:chgData name="Rikke Bækgaard Christensen" userId="895b20d1-8a83-4427-801b-a124aada3673" providerId="ADAL" clId="{FA393C0D-DE56-452F-BBA7-E7A7562803E4}" dt="2024-11-12T19:32:54.453" v="374" actId="1076"/>
          <ac:spMkLst>
            <pc:docMk/>
            <pc:sldMk cId="3005506244" sldId="259"/>
            <ac:spMk id="18" creationId="{B1211E77-B8D6-02C7-A3A5-89FE11BA3141}"/>
          </ac:spMkLst>
        </pc:spChg>
        <pc:spChg chg="add mod">
          <ac:chgData name="Rikke Bækgaard Christensen" userId="895b20d1-8a83-4427-801b-a124aada3673" providerId="ADAL" clId="{FA393C0D-DE56-452F-BBA7-E7A7562803E4}" dt="2024-11-12T19:32:37.943" v="369" actId="113"/>
          <ac:spMkLst>
            <pc:docMk/>
            <pc:sldMk cId="3005506244" sldId="259"/>
            <ac:spMk id="20" creationId="{03D70FB8-25A7-9121-5C21-4DFF9D59E3EF}"/>
          </ac:spMkLst>
        </pc:spChg>
        <pc:spChg chg="add mod">
          <ac:chgData name="Rikke Bækgaard Christensen" userId="895b20d1-8a83-4427-801b-a124aada3673" providerId="ADAL" clId="{FA393C0D-DE56-452F-BBA7-E7A7562803E4}" dt="2024-11-12T19:32:43.995" v="371" actId="14100"/>
          <ac:spMkLst>
            <pc:docMk/>
            <pc:sldMk cId="3005506244" sldId="259"/>
            <ac:spMk id="22" creationId="{9220F16D-1F92-B797-A5DA-0FF1CA19B728}"/>
          </ac:spMkLst>
        </pc:spChg>
        <pc:spChg chg="add mod">
          <ac:chgData name="Rikke Bækgaard Christensen" userId="895b20d1-8a83-4427-801b-a124aada3673" providerId="ADAL" clId="{FA393C0D-DE56-452F-BBA7-E7A7562803E4}" dt="2024-11-12T19:32:51.104" v="373" actId="1076"/>
          <ac:spMkLst>
            <pc:docMk/>
            <pc:sldMk cId="3005506244" sldId="259"/>
            <ac:spMk id="27" creationId="{2BACCCEB-DBA1-03FF-337A-D65CCA88AC9A}"/>
          </ac:spMkLst>
        </pc:spChg>
        <pc:picChg chg="del">
          <ac:chgData name="Rikke Bækgaard Christensen" userId="895b20d1-8a83-4427-801b-a124aada3673" providerId="ADAL" clId="{FA393C0D-DE56-452F-BBA7-E7A7562803E4}" dt="2024-11-12T19:26:15.280" v="272" actId="478"/>
          <ac:picMkLst>
            <pc:docMk/>
            <pc:sldMk cId="3005506244" sldId="259"/>
            <ac:picMk id="13" creationId="{12D3C898-AF18-D20D-001E-D9EE9C327EF7}"/>
          </ac:picMkLst>
        </pc:picChg>
        <pc:picChg chg="del">
          <ac:chgData name="Rikke Bækgaard Christensen" userId="895b20d1-8a83-4427-801b-a124aada3673" providerId="ADAL" clId="{FA393C0D-DE56-452F-BBA7-E7A7562803E4}" dt="2024-11-12T19:26:16.913" v="273" actId="478"/>
          <ac:picMkLst>
            <pc:docMk/>
            <pc:sldMk cId="3005506244" sldId="259"/>
            <ac:picMk id="14" creationId="{81942EF4-524B-E88F-14AA-DB9719653048}"/>
          </ac:picMkLst>
        </pc:picChg>
        <pc:cxnChg chg="add">
          <ac:chgData name="Rikke Bækgaard Christensen" userId="895b20d1-8a83-4427-801b-a124aada3673" providerId="ADAL" clId="{FA393C0D-DE56-452F-BBA7-E7A7562803E4}" dt="2024-11-12T19:30:33.685" v="337" actId="11529"/>
          <ac:cxnSpMkLst>
            <pc:docMk/>
            <pc:sldMk cId="3005506244" sldId="259"/>
            <ac:cxnSpMk id="24" creationId="{D66E6E05-1388-40CE-BEB2-4DE69E6B2A95}"/>
          </ac:cxnSpMkLst>
        </pc:cxnChg>
        <pc:cxnChg chg="add mod">
          <ac:chgData name="Rikke Bækgaard Christensen" userId="895b20d1-8a83-4427-801b-a124aada3673" providerId="ADAL" clId="{FA393C0D-DE56-452F-BBA7-E7A7562803E4}" dt="2024-11-12T19:30:41.587" v="339" actId="1076"/>
          <ac:cxnSpMkLst>
            <pc:docMk/>
            <pc:sldMk cId="3005506244" sldId="259"/>
            <ac:cxnSpMk id="25" creationId="{43BD45AF-2633-C7BF-E146-2A3A96CBC83B}"/>
          </ac:cxnSpMkLst>
        </pc:cxnChg>
      </pc:sldChg>
      <pc:sldChg chg="del">
        <pc:chgData name="Rikke Bækgaard Christensen" userId="895b20d1-8a83-4427-801b-a124aada3673" providerId="ADAL" clId="{FA393C0D-DE56-452F-BBA7-E7A7562803E4}" dt="2024-11-11T14:04:42.169" v="57" actId="47"/>
        <pc:sldMkLst>
          <pc:docMk/>
          <pc:sldMk cId="3450538697" sldId="259"/>
        </pc:sldMkLst>
      </pc:sldChg>
      <pc:sldChg chg="add del">
        <pc:chgData name="Rikke Bækgaard Christensen" userId="895b20d1-8a83-4427-801b-a124aada3673" providerId="ADAL" clId="{FA393C0D-DE56-452F-BBA7-E7A7562803E4}" dt="2024-11-12T19:26:31.252" v="277"/>
        <pc:sldMkLst>
          <pc:docMk/>
          <pc:sldMk cId="262880910" sldId="260"/>
        </pc:sldMkLst>
      </pc:sldChg>
      <pc:sldChg chg="addSp delSp modSp add del mod ord">
        <pc:chgData name="Rikke Bækgaard Christensen" userId="895b20d1-8a83-4427-801b-a124aada3673" providerId="ADAL" clId="{FA393C0D-DE56-452F-BBA7-E7A7562803E4}" dt="2024-11-12T19:25:52.298" v="255" actId="47"/>
        <pc:sldMkLst>
          <pc:docMk/>
          <pc:sldMk cId="1366054179" sldId="260"/>
        </pc:sldMkLst>
        <pc:spChg chg="add mod">
          <ac:chgData name="Rikke Bækgaard Christensen" userId="895b20d1-8a83-4427-801b-a124aada3673" providerId="ADAL" clId="{FA393C0D-DE56-452F-BBA7-E7A7562803E4}" dt="2024-11-12T19:25:07.874" v="238" actId="21"/>
          <ac:spMkLst>
            <pc:docMk/>
            <pc:sldMk cId="1366054179" sldId="260"/>
            <ac:spMk id="4" creationId="{91E77B80-0359-F706-3FE7-DE25DDDA0130}"/>
          </ac:spMkLst>
        </pc:spChg>
        <pc:spChg chg="del">
          <ac:chgData name="Rikke Bækgaard Christensen" userId="895b20d1-8a83-4427-801b-a124aada3673" providerId="ADAL" clId="{FA393C0D-DE56-452F-BBA7-E7A7562803E4}" dt="2024-11-12T19:25:07.874" v="238" actId="21"/>
          <ac:spMkLst>
            <pc:docMk/>
            <pc:sldMk cId="1366054179" sldId="260"/>
            <ac:spMk id="8" creationId="{CD2E7CA1-5B5B-C354-634E-3E5DE66F1091}"/>
          </ac:spMkLst>
        </pc:spChg>
        <pc:picChg chg="del">
          <ac:chgData name="Rikke Bækgaard Christensen" userId="895b20d1-8a83-4427-801b-a124aada3673" providerId="ADAL" clId="{FA393C0D-DE56-452F-BBA7-E7A7562803E4}" dt="2024-11-12T19:25:07.874" v="238" actId="21"/>
          <ac:picMkLst>
            <pc:docMk/>
            <pc:sldMk cId="1366054179" sldId="260"/>
            <ac:picMk id="5" creationId="{12D3C898-AF18-D20D-001E-D9EE9C327EF7}"/>
          </ac:picMkLst>
        </pc:picChg>
        <pc:picChg chg="del">
          <ac:chgData name="Rikke Bækgaard Christensen" userId="895b20d1-8a83-4427-801b-a124aada3673" providerId="ADAL" clId="{FA393C0D-DE56-452F-BBA7-E7A7562803E4}" dt="2024-11-12T19:25:07.874" v="238" actId="21"/>
          <ac:picMkLst>
            <pc:docMk/>
            <pc:sldMk cId="1366054179" sldId="260"/>
            <ac:picMk id="7" creationId="{81942EF4-524B-E88F-14AA-DB9719653048}"/>
          </ac:picMkLst>
        </pc:picChg>
      </pc:sldChg>
      <pc:sldChg chg="addSp delSp modSp add mod modShow">
        <pc:chgData name="Rikke Bækgaard Christensen" userId="895b20d1-8a83-4427-801b-a124aada3673" providerId="ADAL" clId="{FA393C0D-DE56-452F-BBA7-E7A7562803E4}" dt="2024-11-22T09:13:55.179" v="598" actId="729"/>
        <pc:sldMkLst>
          <pc:docMk/>
          <pc:sldMk cId="1656474223" sldId="260"/>
        </pc:sldMkLst>
        <pc:spChg chg="mod">
          <ac:chgData name="Rikke Bækgaard Christensen" userId="895b20d1-8a83-4427-801b-a124aada3673" providerId="ADAL" clId="{FA393C0D-DE56-452F-BBA7-E7A7562803E4}" dt="2024-11-12T19:35:31.342" v="498" actId="20577"/>
          <ac:spMkLst>
            <pc:docMk/>
            <pc:sldMk cId="1656474223" sldId="260"/>
            <ac:spMk id="8" creationId="{5B021FDF-6019-7AC6-C57C-B37ADCBCF3B4}"/>
          </ac:spMkLst>
        </pc:spChg>
        <pc:spChg chg="add del mod">
          <ac:chgData name="Rikke Bækgaard Christensen" userId="895b20d1-8a83-4427-801b-a124aada3673" providerId="ADAL" clId="{FA393C0D-DE56-452F-BBA7-E7A7562803E4}" dt="2024-11-12T19:33:46.394" v="413" actId="478"/>
          <ac:spMkLst>
            <pc:docMk/>
            <pc:sldMk cId="1656474223" sldId="260"/>
            <ac:spMk id="10" creationId="{B112BDCF-7EC9-DBCD-42DA-031E47F12F98}"/>
          </ac:spMkLst>
        </pc:spChg>
        <pc:spChg chg="del">
          <ac:chgData name="Rikke Bækgaard Christensen" userId="895b20d1-8a83-4427-801b-a124aada3673" providerId="ADAL" clId="{FA393C0D-DE56-452F-BBA7-E7A7562803E4}" dt="2024-11-12T19:33:38.307" v="411" actId="478"/>
          <ac:spMkLst>
            <pc:docMk/>
            <pc:sldMk cId="1656474223" sldId="260"/>
            <ac:spMk id="11" creationId="{867E4131-A0CA-8B6A-9315-7A1034C2B65D}"/>
          </ac:spMkLst>
        </pc:spChg>
        <pc:spChg chg="add del mod">
          <ac:chgData name="Rikke Bækgaard Christensen" userId="895b20d1-8a83-4427-801b-a124aada3673" providerId="ADAL" clId="{FA393C0D-DE56-452F-BBA7-E7A7562803E4}" dt="2024-11-12T19:35:41.539" v="502" actId="478"/>
          <ac:spMkLst>
            <pc:docMk/>
            <pc:sldMk cId="1656474223" sldId="260"/>
            <ac:spMk id="15" creationId="{3DEE4D8C-69DD-81DC-9037-A4156992403C}"/>
          </ac:spMkLst>
        </pc:spChg>
        <pc:spChg chg="del">
          <ac:chgData name="Rikke Bækgaard Christensen" userId="895b20d1-8a83-4427-801b-a124aada3673" providerId="ADAL" clId="{FA393C0D-DE56-452F-BBA7-E7A7562803E4}" dt="2024-11-12T19:33:54.246" v="417" actId="478"/>
          <ac:spMkLst>
            <pc:docMk/>
            <pc:sldMk cId="1656474223" sldId="260"/>
            <ac:spMk id="16" creationId="{FD20B7EE-2546-5F8B-02C9-873817AFCE27}"/>
          </ac:spMkLst>
        </pc:spChg>
        <pc:spChg chg="del">
          <ac:chgData name="Rikke Bækgaard Christensen" userId="895b20d1-8a83-4427-801b-a124aada3673" providerId="ADAL" clId="{FA393C0D-DE56-452F-BBA7-E7A7562803E4}" dt="2024-11-12T19:33:52.383" v="416" actId="478"/>
          <ac:spMkLst>
            <pc:docMk/>
            <pc:sldMk cId="1656474223" sldId="260"/>
            <ac:spMk id="18" creationId="{B1211E77-B8D6-02C7-A3A5-89FE11BA3141}"/>
          </ac:spMkLst>
        </pc:spChg>
        <pc:spChg chg="del">
          <ac:chgData name="Rikke Bækgaard Christensen" userId="895b20d1-8a83-4427-801b-a124aada3673" providerId="ADAL" clId="{FA393C0D-DE56-452F-BBA7-E7A7562803E4}" dt="2024-11-12T19:33:41.420" v="412" actId="478"/>
          <ac:spMkLst>
            <pc:docMk/>
            <pc:sldMk cId="1656474223" sldId="260"/>
            <ac:spMk id="20" creationId="{03D70FB8-25A7-9121-5C21-4DFF9D59E3EF}"/>
          </ac:spMkLst>
        </pc:spChg>
        <pc:spChg chg="del">
          <ac:chgData name="Rikke Bækgaard Christensen" userId="895b20d1-8a83-4427-801b-a124aada3673" providerId="ADAL" clId="{FA393C0D-DE56-452F-BBA7-E7A7562803E4}" dt="2024-11-12T19:33:56.624" v="418" actId="478"/>
          <ac:spMkLst>
            <pc:docMk/>
            <pc:sldMk cId="1656474223" sldId="260"/>
            <ac:spMk id="22" creationId="{9220F16D-1F92-B797-A5DA-0FF1CA19B728}"/>
          </ac:spMkLst>
        </pc:spChg>
        <pc:spChg chg="del">
          <ac:chgData name="Rikke Bækgaard Christensen" userId="895b20d1-8a83-4427-801b-a124aada3673" providerId="ADAL" clId="{FA393C0D-DE56-452F-BBA7-E7A7562803E4}" dt="2024-11-12T19:33:48.651" v="414" actId="478"/>
          <ac:spMkLst>
            <pc:docMk/>
            <pc:sldMk cId="1656474223" sldId="260"/>
            <ac:spMk id="27" creationId="{2BACCCEB-DBA1-03FF-337A-D65CCA88AC9A}"/>
          </ac:spMkLst>
        </pc:spChg>
        <pc:picChg chg="add del mod">
          <ac:chgData name="Rikke Bækgaard Christensen" userId="895b20d1-8a83-4427-801b-a124aada3673" providerId="ADAL" clId="{FA393C0D-DE56-452F-BBA7-E7A7562803E4}" dt="2024-11-12T19:35:39.156" v="500" actId="478"/>
          <ac:picMkLst>
            <pc:docMk/>
            <pc:sldMk cId="1656474223" sldId="260"/>
            <ac:picMk id="12" creationId="{3B2CFAC4-AA86-812F-8D0A-168CCAFC3DC5}"/>
          </ac:picMkLst>
        </pc:picChg>
        <pc:picChg chg="add del mod">
          <ac:chgData name="Rikke Bækgaard Christensen" userId="895b20d1-8a83-4427-801b-a124aada3673" providerId="ADAL" clId="{FA393C0D-DE56-452F-BBA7-E7A7562803E4}" dt="2024-11-12T19:35:48.747" v="504" actId="478"/>
          <ac:picMkLst>
            <pc:docMk/>
            <pc:sldMk cId="1656474223" sldId="260"/>
            <ac:picMk id="13" creationId="{62AF6613-9403-B556-0156-35D02706D3CD}"/>
          </ac:picMkLst>
        </pc:picChg>
        <pc:picChg chg="add mod">
          <ac:chgData name="Rikke Bækgaard Christensen" userId="895b20d1-8a83-4427-801b-a124aada3673" providerId="ADAL" clId="{FA393C0D-DE56-452F-BBA7-E7A7562803E4}" dt="2024-11-12T19:36:17.058" v="513" actId="1076"/>
          <ac:picMkLst>
            <pc:docMk/>
            <pc:sldMk cId="1656474223" sldId="260"/>
            <ac:picMk id="17" creationId="{A79A6E39-C9AD-147D-3CCE-0E265D6D2FF9}"/>
          </ac:picMkLst>
        </pc:picChg>
        <pc:picChg chg="add mod">
          <ac:chgData name="Rikke Bækgaard Christensen" userId="895b20d1-8a83-4427-801b-a124aada3673" providerId="ADAL" clId="{FA393C0D-DE56-452F-BBA7-E7A7562803E4}" dt="2024-11-12T19:36:14.544" v="512" actId="1076"/>
          <ac:picMkLst>
            <pc:docMk/>
            <pc:sldMk cId="1656474223" sldId="260"/>
            <ac:picMk id="19" creationId="{3EA33B70-4A23-FD92-1A46-9D5A6B7335CA}"/>
          </ac:picMkLst>
        </pc:picChg>
        <pc:cxnChg chg="del">
          <ac:chgData name="Rikke Bækgaard Christensen" userId="895b20d1-8a83-4427-801b-a124aada3673" providerId="ADAL" clId="{FA393C0D-DE56-452F-BBA7-E7A7562803E4}" dt="2024-11-12T19:33:58.533" v="419" actId="478"/>
          <ac:cxnSpMkLst>
            <pc:docMk/>
            <pc:sldMk cId="1656474223" sldId="260"/>
            <ac:cxnSpMk id="24" creationId="{D66E6E05-1388-40CE-BEB2-4DE69E6B2A95}"/>
          </ac:cxnSpMkLst>
        </pc:cxnChg>
        <pc:cxnChg chg="del">
          <ac:chgData name="Rikke Bækgaard Christensen" userId="895b20d1-8a83-4427-801b-a124aada3673" providerId="ADAL" clId="{FA393C0D-DE56-452F-BBA7-E7A7562803E4}" dt="2024-11-12T19:33:50.303" v="415" actId="478"/>
          <ac:cxnSpMkLst>
            <pc:docMk/>
            <pc:sldMk cId="1656474223" sldId="260"/>
            <ac:cxnSpMk id="25" creationId="{43BD45AF-2633-C7BF-E146-2A3A96CBC83B}"/>
          </ac:cxnSpMkLst>
        </pc:cxnChg>
      </pc:sldChg>
      <pc:sldChg chg="modSp add del mod ord">
        <pc:chgData name="Rikke Bækgaard Christensen" userId="895b20d1-8a83-4427-801b-a124aada3673" providerId="ADAL" clId="{FA393C0D-DE56-452F-BBA7-E7A7562803E4}" dt="2024-11-12T19:33:23.011" v="393" actId="47"/>
        <pc:sldMkLst>
          <pc:docMk/>
          <pc:sldMk cId="485580712" sldId="261"/>
        </pc:sldMkLst>
        <pc:spChg chg="mod">
          <ac:chgData name="Rikke Bækgaard Christensen" userId="895b20d1-8a83-4427-801b-a124aada3673" providerId="ADAL" clId="{FA393C0D-DE56-452F-BBA7-E7A7562803E4}" dt="2024-11-12T19:21:37.194" v="187" actId="27636"/>
          <ac:spMkLst>
            <pc:docMk/>
            <pc:sldMk cId="485580712" sldId="261"/>
            <ac:spMk id="2" creationId="{765B3092-AB5E-53DC-F4E0-2D9953A0ED49}"/>
          </ac:spMkLst>
        </pc:spChg>
        <pc:spChg chg="mod">
          <ac:chgData name="Rikke Bækgaard Christensen" userId="895b20d1-8a83-4427-801b-a124aada3673" providerId="ADAL" clId="{FA393C0D-DE56-452F-BBA7-E7A7562803E4}" dt="2024-11-12T19:21:37.184" v="186" actId="27636"/>
          <ac:spMkLst>
            <pc:docMk/>
            <pc:sldMk cId="485580712" sldId="261"/>
            <ac:spMk id="3" creationId="{BB9CDC86-7C55-6658-9356-A97E9E596DD5}"/>
          </ac:spMkLst>
        </pc:spChg>
      </pc:sldChg>
      <pc:sldChg chg="addSp delSp modSp add mod setBg">
        <pc:chgData name="Rikke Bækgaard Christensen" userId="895b20d1-8a83-4427-801b-a124aada3673" providerId="ADAL" clId="{FA393C0D-DE56-452F-BBA7-E7A7562803E4}" dt="2024-11-25T11:44:49.064" v="5869" actId="20577"/>
        <pc:sldMkLst>
          <pc:docMk/>
          <pc:sldMk cId="3796565239" sldId="261"/>
        </pc:sldMkLst>
        <pc:spChg chg="add mod">
          <ac:chgData name="Rikke Bækgaard Christensen" userId="895b20d1-8a83-4427-801b-a124aada3673" providerId="ADAL" clId="{FA393C0D-DE56-452F-BBA7-E7A7562803E4}" dt="2024-11-22T09:55:36.127" v="1155" actId="20577"/>
          <ac:spMkLst>
            <pc:docMk/>
            <pc:sldMk cId="3796565239" sldId="261"/>
            <ac:spMk id="2" creationId="{3CF251FA-1844-A8C5-F468-236DFE333E84}"/>
          </ac:spMkLst>
        </pc:spChg>
        <pc:spChg chg="mod">
          <ac:chgData name="Rikke Bækgaard Christensen" userId="895b20d1-8a83-4427-801b-a124aada3673" providerId="ADAL" clId="{FA393C0D-DE56-452F-BBA7-E7A7562803E4}" dt="2024-11-22T09:46:51.518" v="831" actId="20577"/>
          <ac:spMkLst>
            <pc:docMk/>
            <pc:sldMk cId="3796565239" sldId="261"/>
            <ac:spMk id="18" creationId="{A8B4CD23-742D-37C0-6CBF-C62CA1045C1D}"/>
          </ac:spMkLst>
        </pc:spChg>
        <pc:graphicFrameChg chg="add mod modGraphic">
          <ac:chgData name="Rikke Bækgaard Christensen" userId="895b20d1-8a83-4427-801b-a124aada3673" providerId="ADAL" clId="{FA393C0D-DE56-452F-BBA7-E7A7562803E4}" dt="2024-11-25T11:44:49.064" v="5869" actId="20577"/>
          <ac:graphicFrameMkLst>
            <pc:docMk/>
            <pc:sldMk cId="3796565239" sldId="261"/>
            <ac:graphicFrameMk id="4" creationId="{F292774B-8A82-1B6C-18D0-462C2BBEB07A}"/>
          </ac:graphicFrameMkLst>
        </pc:graphicFrameChg>
        <pc:picChg chg="del mod">
          <ac:chgData name="Rikke Bækgaard Christensen" userId="895b20d1-8a83-4427-801b-a124aada3673" providerId="ADAL" clId="{FA393C0D-DE56-452F-BBA7-E7A7562803E4}" dt="2024-11-22T09:46:54.775" v="833" actId="478"/>
          <ac:picMkLst>
            <pc:docMk/>
            <pc:sldMk cId="3796565239" sldId="261"/>
            <ac:picMk id="3" creationId="{00000000-0000-0000-0000-000000000000}"/>
          </ac:picMkLst>
        </pc:picChg>
      </pc:sldChg>
      <pc:sldChg chg="addSp delSp modSp add del mod ord">
        <pc:chgData name="Rikke Bækgaard Christensen" userId="895b20d1-8a83-4427-801b-a124aada3673" providerId="ADAL" clId="{FA393C0D-DE56-452F-BBA7-E7A7562803E4}" dt="2024-11-12T19:34:29.997" v="426" actId="47"/>
        <pc:sldMkLst>
          <pc:docMk/>
          <pc:sldMk cId="1248402127" sldId="262"/>
        </pc:sldMkLst>
        <pc:spChg chg="mod">
          <ac:chgData name="Rikke Bækgaard Christensen" userId="895b20d1-8a83-4427-801b-a124aada3673" providerId="ADAL" clId="{FA393C0D-DE56-452F-BBA7-E7A7562803E4}" dt="2024-11-12T19:21:37.247" v="188" actId="27636"/>
          <ac:spMkLst>
            <pc:docMk/>
            <pc:sldMk cId="1248402127" sldId="262"/>
            <ac:spMk id="2" creationId="{D4F0CE0B-C54F-33FD-1EC5-99D3EB45B46B}"/>
          </ac:spMkLst>
        </pc:spChg>
        <pc:spChg chg="add mod">
          <ac:chgData name="Rikke Bækgaard Christensen" userId="895b20d1-8a83-4427-801b-a124aada3673" providerId="ADAL" clId="{FA393C0D-DE56-452F-BBA7-E7A7562803E4}" dt="2024-11-12T19:34:02.080" v="420" actId="21"/>
          <ac:spMkLst>
            <pc:docMk/>
            <pc:sldMk cId="1248402127" sldId="262"/>
            <ac:spMk id="4" creationId="{A8ECD83A-07B7-3F05-779E-A1361B23572C}"/>
          </ac:spMkLst>
        </pc:spChg>
        <pc:picChg chg="del">
          <ac:chgData name="Rikke Bækgaard Christensen" userId="895b20d1-8a83-4427-801b-a124aada3673" providerId="ADAL" clId="{FA393C0D-DE56-452F-BBA7-E7A7562803E4}" dt="2024-11-12T19:34:02.080" v="420" actId="21"/>
          <ac:picMkLst>
            <pc:docMk/>
            <pc:sldMk cId="1248402127" sldId="262"/>
            <ac:picMk id="5" creationId="{3B2CFAC4-AA86-812F-8D0A-168CCAFC3DC5}"/>
          </ac:picMkLst>
        </pc:picChg>
      </pc:sldChg>
      <pc:sldChg chg="delSp modSp add mod">
        <pc:chgData name="Rikke Bækgaard Christensen" userId="895b20d1-8a83-4427-801b-a124aada3673" providerId="ADAL" clId="{FA393C0D-DE56-452F-BBA7-E7A7562803E4}" dt="2024-11-25T11:51:05.887" v="6268" actId="20577"/>
        <pc:sldMkLst>
          <pc:docMk/>
          <pc:sldMk cId="3893174138" sldId="262"/>
        </pc:sldMkLst>
        <pc:spChg chg="mod">
          <ac:chgData name="Rikke Bækgaard Christensen" userId="895b20d1-8a83-4427-801b-a124aada3673" providerId="ADAL" clId="{FA393C0D-DE56-452F-BBA7-E7A7562803E4}" dt="2024-11-22T09:51:41.703" v="1018" actId="20577"/>
          <ac:spMkLst>
            <pc:docMk/>
            <pc:sldMk cId="3893174138" sldId="262"/>
            <ac:spMk id="2" creationId="{3CF251FA-1844-A8C5-F468-236DFE333E84}"/>
          </ac:spMkLst>
        </pc:spChg>
        <pc:spChg chg="del">
          <ac:chgData name="Rikke Bækgaard Christensen" userId="895b20d1-8a83-4427-801b-a124aada3673" providerId="ADAL" clId="{FA393C0D-DE56-452F-BBA7-E7A7562803E4}" dt="2024-11-22T09:51:24.764" v="959" actId="478"/>
          <ac:spMkLst>
            <pc:docMk/>
            <pc:sldMk cId="3893174138" sldId="262"/>
            <ac:spMk id="18" creationId="{A8B4CD23-742D-37C0-6CBF-C62CA1045C1D}"/>
          </ac:spMkLst>
        </pc:spChg>
        <pc:grpChg chg="mod">
          <ac:chgData name="Rikke Bækgaard Christensen" userId="895b20d1-8a83-4427-801b-a124aada3673" providerId="ADAL" clId="{FA393C0D-DE56-452F-BBA7-E7A7562803E4}" dt="2024-11-22T09:51:46.773" v="1019" actId="1076"/>
          <ac:grpSpMkLst>
            <pc:docMk/>
            <pc:sldMk cId="3893174138" sldId="262"/>
            <ac:grpSpMk id="13" creationId="{5E303CF2-B953-3FED-82B2-48984DA1426F}"/>
          </ac:grpSpMkLst>
        </pc:grpChg>
        <pc:graphicFrameChg chg="mod modGraphic">
          <ac:chgData name="Rikke Bækgaard Christensen" userId="895b20d1-8a83-4427-801b-a124aada3673" providerId="ADAL" clId="{FA393C0D-DE56-452F-BBA7-E7A7562803E4}" dt="2024-11-25T11:51:05.887" v="6268" actId="20577"/>
          <ac:graphicFrameMkLst>
            <pc:docMk/>
            <pc:sldMk cId="3893174138" sldId="262"/>
            <ac:graphicFrameMk id="4" creationId="{F292774B-8A82-1B6C-18D0-462C2BBEB07A}"/>
          </ac:graphicFrameMkLst>
        </pc:graphicFrameChg>
      </pc:sldChg>
      <pc:sldChg chg="modSp add mod">
        <pc:chgData name="Rikke Bækgaard Christensen" userId="895b20d1-8a83-4427-801b-a124aada3673" providerId="ADAL" clId="{FA393C0D-DE56-452F-BBA7-E7A7562803E4}" dt="2024-11-25T12:03:19.934" v="6527" actId="1076"/>
        <pc:sldMkLst>
          <pc:docMk/>
          <pc:sldMk cId="545693632" sldId="264"/>
        </pc:sldMkLst>
        <pc:spChg chg="mod">
          <ac:chgData name="Rikke Bækgaard Christensen" userId="895b20d1-8a83-4427-801b-a124aada3673" providerId="ADAL" clId="{FA393C0D-DE56-452F-BBA7-E7A7562803E4}" dt="2024-11-22T09:52:29.253" v="1067" actId="20577"/>
          <ac:spMkLst>
            <pc:docMk/>
            <pc:sldMk cId="545693632" sldId="264"/>
            <ac:spMk id="2" creationId="{3CF251FA-1844-A8C5-F468-236DFE333E84}"/>
          </ac:spMkLst>
        </pc:spChg>
        <pc:graphicFrameChg chg="mod modGraphic">
          <ac:chgData name="Rikke Bækgaard Christensen" userId="895b20d1-8a83-4427-801b-a124aada3673" providerId="ADAL" clId="{FA393C0D-DE56-452F-BBA7-E7A7562803E4}" dt="2024-11-25T12:03:19.934" v="6527" actId="1076"/>
          <ac:graphicFrameMkLst>
            <pc:docMk/>
            <pc:sldMk cId="545693632" sldId="264"/>
            <ac:graphicFrameMk id="4" creationId="{F292774B-8A82-1B6C-18D0-462C2BBEB07A}"/>
          </ac:graphicFrameMkLst>
        </pc:graphicFrameChg>
      </pc:sldChg>
      <pc:sldChg chg="addSp delSp modSp add del mod ord">
        <pc:chgData name="Rikke Bækgaard Christensen" userId="895b20d1-8a83-4427-801b-a124aada3673" providerId="ADAL" clId="{FA393C0D-DE56-452F-BBA7-E7A7562803E4}" dt="2024-11-12T19:36:25.114" v="514" actId="47"/>
        <pc:sldMkLst>
          <pc:docMk/>
          <pc:sldMk cId="3920456606" sldId="264"/>
        </pc:sldMkLst>
        <pc:spChg chg="mod">
          <ac:chgData name="Rikke Bækgaard Christensen" userId="895b20d1-8a83-4427-801b-a124aada3673" providerId="ADAL" clId="{FA393C0D-DE56-452F-BBA7-E7A7562803E4}" dt="2024-11-12T19:21:37.278" v="190" actId="27636"/>
          <ac:spMkLst>
            <pc:docMk/>
            <pc:sldMk cId="3920456606" sldId="264"/>
            <ac:spMk id="2" creationId="{D4F0CE0B-C54F-33FD-1EC5-99D3EB45B46B}"/>
          </ac:spMkLst>
        </pc:spChg>
        <pc:picChg chg="add del">
          <ac:chgData name="Rikke Bækgaard Christensen" userId="895b20d1-8a83-4427-801b-a124aada3673" providerId="ADAL" clId="{FA393C0D-DE56-452F-BBA7-E7A7562803E4}" dt="2024-11-12T19:35:36.678" v="499" actId="21"/>
          <ac:picMkLst>
            <pc:docMk/>
            <pc:sldMk cId="3920456606" sldId="264"/>
            <ac:picMk id="5" creationId="{A79A6E39-C9AD-147D-3CCE-0E265D6D2FF9}"/>
          </ac:picMkLst>
        </pc:picChg>
      </pc:sldChg>
      <pc:sldChg chg="modSp mod">
        <pc:chgData name="Rikke Bækgaard Christensen" userId="895b20d1-8a83-4427-801b-a124aada3673" providerId="ADAL" clId="{FA393C0D-DE56-452F-BBA7-E7A7562803E4}" dt="2024-11-12T19:18:50.452" v="84" actId="20577"/>
        <pc:sldMkLst>
          <pc:docMk/>
          <pc:sldMk cId="2994960016" sldId="266"/>
        </pc:sldMkLst>
        <pc:spChg chg="mod">
          <ac:chgData name="Rikke Bækgaard Christensen" userId="895b20d1-8a83-4427-801b-a124aada3673" providerId="ADAL" clId="{FA393C0D-DE56-452F-BBA7-E7A7562803E4}" dt="2024-11-12T19:18:50.452" v="84" actId="20577"/>
          <ac:spMkLst>
            <pc:docMk/>
            <pc:sldMk cId="2994960016" sldId="266"/>
            <ac:spMk id="33" creationId="{6600CE70-5D3F-706D-085B-B5F91B091721}"/>
          </ac:spMkLst>
        </pc:spChg>
      </pc:sldChg>
      <pc:sldChg chg="add del mod modShow">
        <pc:chgData name="Rikke Bækgaard Christensen" userId="895b20d1-8a83-4427-801b-a124aada3673" providerId="ADAL" clId="{FA393C0D-DE56-452F-BBA7-E7A7562803E4}" dt="2024-11-12T19:37:09.286" v="518" actId="47"/>
        <pc:sldMkLst>
          <pc:docMk/>
          <pc:sldMk cId="2045676284" sldId="267"/>
        </pc:sldMkLst>
      </pc:sldChg>
      <pc:sldChg chg="modSp add mod">
        <pc:chgData name="Rikke Bækgaard Christensen" userId="895b20d1-8a83-4427-801b-a124aada3673" providerId="ADAL" clId="{FA393C0D-DE56-452F-BBA7-E7A7562803E4}" dt="2024-11-25T12:03:48.303" v="6536" actId="20577"/>
        <pc:sldMkLst>
          <pc:docMk/>
          <pc:sldMk cId="2483691674" sldId="267"/>
        </pc:sldMkLst>
        <pc:spChg chg="mod">
          <ac:chgData name="Rikke Bækgaard Christensen" userId="895b20d1-8a83-4427-801b-a124aada3673" providerId="ADAL" clId="{FA393C0D-DE56-452F-BBA7-E7A7562803E4}" dt="2024-11-25T11:53:45.353" v="6285" actId="20577"/>
          <ac:spMkLst>
            <pc:docMk/>
            <pc:sldMk cId="2483691674" sldId="267"/>
            <ac:spMk id="2" creationId="{3CF251FA-1844-A8C5-F468-236DFE333E84}"/>
          </ac:spMkLst>
        </pc:spChg>
        <pc:graphicFrameChg chg="mod modGraphic">
          <ac:chgData name="Rikke Bækgaard Christensen" userId="895b20d1-8a83-4427-801b-a124aada3673" providerId="ADAL" clId="{FA393C0D-DE56-452F-BBA7-E7A7562803E4}" dt="2024-11-25T12:03:48.303" v="6536" actId="20577"/>
          <ac:graphicFrameMkLst>
            <pc:docMk/>
            <pc:sldMk cId="2483691674" sldId="267"/>
            <ac:graphicFrameMk id="4" creationId="{F292774B-8A82-1B6C-18D0-462C2BBEB07A}"/>
          </ac:graphicFrameMkLst>
        </pc:graphicFrameChg>
      </pc:sldChg>
      <pc:sldChg chg="del">
        <pc:chgData name="Rikke Bækgaard Christensen" userId="895b20d1-8a83-4427-801b-a124aada3673" providerId="ADAL" clId="{FA393C0D-DE56-452F-BBA7-E7A7562803E4}" dt="2024-11-13T07:56:03.518" v="527" actId="47"/>
        <pc:sldMkLst>
          <pc:docMk/>
          <pc:sldMk cId="710119179" sldId="268"/>
        </pc:sldMkLst>
      </pc:sldChg>
      <pc:sldChg chg="modSp add mod ord">
        <pc:chgData name="Rikke Bækgaard Christensen" userId="895b20d1-8a83-4427-801b-a124aada3673" providerId="ADAL" clId="{FA393C0D-DE56-452F-BBA7-E7A7562803E4}" dt="2024-11-25T11:57:09.529" v="6455" actId="20577"/>
        <pc:sldMkLst>
          <pc:docMk/>
          <pc:sldMk cId="3590565809" sldId="268"/>
        </pc:sldMkLst>
        <pc:spChg chg="mod">
          <ac:chgData name="Rikke Bækgaard Christensen" userId="895b20d1-8a83-4427-801b-a124aada3673" providerId="ADAL" clId="{FA393C0D-DE56-452F-BBA7-E7A7562803E4}" dt="2024-11-22T09:53:02.902" v="1114" actId="6549"/>
          <ac:spMkLst>
            <pc:docMk/>
            <pc:sldMk cId="3590565809" sldId="268"/>
            <ac:spMk id="2" creationId="{3CF251FA-1844-A8C5-F468-236DFE333E84}"/>
          </ac:spMkLst>
        </pc:spChg>
        <pc:graphicFrameChg chg="mod modGraphic">
          <ac:chgData name="Rikke Bækgaard Christensen" userId="895b20d1-8a83-4427-801b-a124aada3673" providerId="ADAL" clId="{FA393C0D-DE56-452F-BBA7-E7A7562803E4}" dt="2024-11-25T11:57:09.529" v="6455" actId="20577"/>
          <ac:graphicFrameMkLst>
            <pc:docMk/>
            <pc:sldMk cId="3590565809" sldId="268"/>
            <ac:graphicFrameMk id="4" creationId="{F292774B-8A82-1B6C-18D0-462C2BBEB07A}"/>
          </ac:graphicFrameMkLst>
        </pc:graphicFrameChg>
      </pc:sldChg>
      <pc:sldChg chg="delSp modSp mod">
        <pc:chgData name="Rikke Bækgaard Christensen" userId="895b20d1-8a83-4427-801b-a124aada3673" providerId="ADAL" clId="{FA393C0D-DE56-452F-BBA7-E7A7562803E4}" dt="2024-11-26T09:32:28.850" v="6933" actId="14100"/>
        <pc:sldMkLst>
          <pc:docMk/>
          <pc:sldMk cId="4113557839" sldId="269"/>
        </pc:sldMkLst>
        <pc:spChg chg="mod">
          <ac:chgData name="Rikke Bækgaard Christensen" userId="895b20d1-8a83-4427-801b-a124aada3673" providerId="ADAL" clId="{FA393C0D-DE56-452F-BBA7-E7A7562803E4}" dt="2024-11-11T14:00:43.192" v="2" actId="1076"/>
          <ac:spMkLst>
            <pc:docMk/>
            <pc:sldMk cId="4113557839" sldId="269"/>
            <ac:spMk id="2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1T14:01:08.001" v="55" actId="20577"/>
          <ac:spMkLst>
            <pc:docMk/>
            <pc:sldMk cId="4113557839" sldId="269"/>
            <ac:spMk id="13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6T09:31:48.457" v="6929" actId="478"/>
          <ac:spMkLst>
            <pc:docMk/>
            <pc:sldMk cId="4113557839" sldId="269"/>
            <ac:spMk id="18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6T09:31:51.677" v="6930" actId="478"/>
          <ac:spMkLst>
            <pc:docMk/>
            <pc:sldMk cId="4113557839" sldId="269"/>
            <ac:spMk id="19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6T09:32:28.850" v="6933" actId="14100"/>
          <ac:spMkLst>
            <pc:docMk/>
            <pc:sldMk cId="4113557839" sldId="269"/>
            <ac:spMk id="29" creationId="{0A3C2A4C-6561-2EAC-B1CB-93535B6DFF6A}"/>
          </ac:spMkLst>
        </pc:spChg>
        <pc:grpChg chg="mod">
          <ac:chgData name="Rikke Bækgaard Christensen" userId="895b20d1-8a83-4427-801b-a124aada3673" providerId="ADAL" clId="{FA393C0D-DE56-452F-BBA7-E7A7562803E4}" dt="2024-11-11T14:00:51.630" v="5" actId="1076"/>
          <ac:grpSpMkLst>
            <pc:docMk/>
            <pc:sldMk cId="4113557839" sldId="269"/>
            <ac:grpSpMk id="7" creationId="{00000000-0000-0000-0000-000000000000}"/>
          </ac:grpSpMkLst>
        </pc:grpChg>
      </pc:sldChg>
      <pc:sldChg chg="addSp delSp modSp add mod ord modShow">
        <pc:chgData name="Rikke Bækgaard Christensen" userId="895b20d1-8a83-4427-801b-a124aada3673" providerId="ADAL" clId="{FA393C0D-DE56-452F-BBA7-E7A7562803E4}" dt="2024-11-22T09:21:12.904" v="728" actId="729"/>
        <pc:sldMkLst>
          <pc:docMk/>
          <pc:sldMk cId="2735216116" sldId="270"/>
        </pc:sldMkLst>
        <pc:spChg chg="add del">
          <ac:chgData name="Rikke Bækgaard Christensen" userId="895b20d1-8a83-4427-801b-a124aada3673" providerId="ADAL" clId="{FA393C0D-DE56-452F-BBA7-E7A7562803E4}" dt="2024-11-12T19:22:22.648" v="206" actId="478"/>
          <ac:spMkLst>
            <pc:docMk/>
            <pc:sldMk cId="2735216116" sldId="270"/>
            <ac:spMk id="2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12T19:22:12.125" v="204"/>
          <ac:spMkLst>
            <pc:docMk/>
            <pc:sldMk cId="2735216116" sldId="270"/>
            <ac:spMk id="3" creationId="{FB6AC9AE-081F-8B97-2C89-DAFBA0AF7F4B}"/>
          </ac:spMkLst>
        </pc:spChg>
        <pc:spChg chg="mod">
          <ac:chgData name="Rikke Bækgaard Christensen" userId="895b20d1-8a83-4427-801b-a124aada3673" providerId="ADAL" clId="{FA393C0D-DE56-452F-BBA7-E7A7562803E4}" dt="2024-11-12T19:22:02.090" v="202" actId="120"/>
          <ac:spMkLst>
            <pc:docMk/>
            <pc:sldMk cId="2735216116" sldId="270"/>
            <ac:spMk id="13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12T19:22:24.874" v="207" actId="478"/>
          <ac:spMkLst>
            <pc:docMk/>
            <pc:sldMk cId="2735216116" sldId="270"/>
            <ac:spMk id="29" creationId="{0A3C2A4C-6561-2EAC-B1CB-93535B6DFF6A}"/>
          </ac:spMkLst>
        </pc:spChg>
        <pc:graphicFrameChg chg="add mod">
          <ac:chgData name="Rikke Bækgaard Christensen" userId="895b20d1-8a83-4427-801b-a124aada3673" providerId="ADAL" clId="{FA393C0D-DE56-452F-BBA7-E7A7562803E4}" dt="2024-11-12T19:36:59.630" v="517" actId="12100"/>
          <ac:graphicFrameMkLst>
            <pc:docMk/>
            <pc:sldMk cId="2735216116" sldId="270"/>
            <ac:graphicFrameMk id="4" creationId="{C1797DB2-C31B-C196-B495-A0DF6A9E0286}"/>
          </ac:graphicFrameMkLst>
        </pc:graphicFrameChg>
        <pc:picChg chg="del">
          <ac:chgData name="Rikke Bækgaard Christensen" userId="895b20d1-8a83-4427-801b-a124aada3673" providerId="ADAL" clId="{FA393C0D-DE56-452F-BBA7-E7A7562803E4}" dt="2024-11-12T19:21:46.153" v="193" actId="478"/>
          <ac:picMkLst>
            <pc:docMk/>
            <pc:sldMk cId="2735216116" sldId="270"/>
            <ac:picMk id="6" creationId="{1E26C65A-C0F2-5F34-ACCF-A5B85A479D6F}"/>
          </ac:picMkLst>
        </pc:picChg>
      </pc:sldChg>
      <pc:sldChg chg="del">
        <pc:chgData name="Rikke Bækgaard Christensen" userId="895b20d1-8a83-4427-801b-a124aada3673" providerId="ADAL" clId="{FA393C0D-DE56-452F-BBA7-E7A7562803E4}" dt="2024-11-11T14:04:56.220" v="59" actId="47"/>
        <pc:sldMkLst>
          <pc:docMk/>
          <pc:sldMk cId="3371848453" sldId="270"/>
        </pc:sldMkLst>
      </pc:sldChg>
      <pc:sldChg chg="addSp delSp modSp add mod modShow">
        <pc:chgData name="Rikke Bækgaard Christensen" userId="895b20d1-8a83-4427-801b-a124aada3673" providerId="ADAL" clId="{FA393C0D-DE56-452F-BBA7-E7A7562803E4}" dt="2024-11-22T09:21:16.549" v="729" actId="729"/>
        <pc:sldMkLst>
          <pc:docMk/>
          <pc:sldMk cId="293070345" sldId="273"/>
        </pc:sldMkLst>
        <pc:spChg chg="add mod">
          <ac:chgData name="Rikke Bækgaard Christensen" userId="895b20d1-8a83-4427-801b-a124aada3673" providerId="ADAL" clId="{FA393C0D-DE56-452F-BBA7-E7A7562803E4}" dt="2024-11-12T19:23:03.045" v="215"/>
          <ac:spMkLst>
            <pc:docMk/>
            <pc:sldMk cId="293070345" sldId="273"/>
            <ac:spMk id="3" creationId="{FCE2B47D-FD24-10C5-A840-5B4CA0E19A36}"/>
          </ac:spMkLst>
        </pc:spChg>
        <pc:spChg chg="add mod">
          <ac:chgData name="Rikke Bækgaard Christensen" userId="895b20d1-8a83-4427-801b-a124aada3673" providerId="ADAL" clId="{FA393C0D-DE56-452F-BBA7-E7A7562803E4}" dt="2024-11-12T19:23:33.530" v="217"/>
          <ac:spMkLst>
            <pc:docMk/>
            <pc:sldMk cId="293070345" sldId="273"/>
            <ac:spMk id="5" creationId="{E9AC90DF-FE53-057A-00E5-53191DA97660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6" creationId="{9CE8353D-5DF5-5D6A-BE52-C7272997357A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11" creationId="{67E382BC-BC52-E003-9F5C-F5376BEAD372}"/>
          </ac:spMkLst>
        </pc:spChg>
        <pc:spChg chg="mod">
          <ac:chgData name="Rikke Bækgaard Christensen" userId="895b20d1-8a83-4427-801b-a124aada3673" providerId="ADAL" clId="{FA393C0D-DE56-452F-BBA7-E7A7562803E4}" dt="2024-11-12T19:24:01.806" v="231" actId="20577"/>
          <ac:spMkLst>
            <pc:docMk/>
            <pc:sldMk cId="293070345" sldId="273"/>
            <ac:spMk id="13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17" creationId="{77496FC5-ACB4-05F8-B669-8A5D07FCA356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21" creationId="{F48887A3-A754-C4F2-1DEF-8BBA417B03FD}"/>
          </ac:spMkLst>
        </pc:spChg>
        <pc:graphicFrameChg chg="del">
          <ac:chgData name="Rikke Bækgaard Christensen" userId="895b20d1-8a83-4427-801b-a124aada3673" providerId="ADAL" clId="{FA393C0D-DE56-452F-BBA7-E7A7562803E4}" dt="2024-11-12T19:23:01.372" v="213" actId="478"/>
          <ac:graphicFrameMkLst>
            <pc:docMk/>
            <pc:sldMk cId="293070345" sldId="273"/>
            <ac:graphicFrameMk id="4" creationId="{C1797DB2-C31B-C196-B495-A0DF6A9E0286}"/>
          </ac:graphicFrameMkLst>
        </pc:graphicFrameChg>
        <pc:graphicFrameChg chg="add mod">
          <ac:chgData name="Rikke Bækgaard Christensen" userId="895b20d1-8a83-4427-801b-a124aada3673" providerId="ADAL" clId="{FA393C0D-DE56-452F-BBA7-E7A7562803E4}" dt="2024-11-12T19:36:49.573" v="516" actId="12100"/>
          <ac:graphicFrameMkLst>
            <pc:docMk/>
            <pc:sldMk cId="293070345" sldId="273"/>
            <ac:graphicFrameMk id="22" creationId="{F60FDB72-0E9D-56BA-643C-1A0FE3DCD53D}"/>
          </ac:graphicFrameMkLst>
        </pc:graphicFrameChg>
      </pc:sldChg>
      <pc:sldChg chg="modSp add mod">
        <pc:chgData name="Rikke Bækgaard Christensen" userId="895b20d1-8a83-4427-801b-a124aada3673" providerId="ADAL" clId="{FA393C0D-DE56-452F-BBA7-E7A7562803E4}" dt="2024-11-26T09:57:59.643" v="6959" actId="20577"/>
        <pc:sldMkLst>
          <pc:docMk/>
          <pc:sldMk cId="1509353072" sldId="274"/>
        </pc:sldMkLst>
        <pc:spChg chg="mod">
          <ac:chgData name="Rikke Bækgaard Christensen" userId="895b20d1-8a83-4427-801b-a124aada3673" providerId="ADAL" clId="{FA393C0D-DE56-452F-BBA7-E7A7562803E4}" dt="2024-11-26T09:57:59.643" v="6959" actId="20577"/>
          <ac:spMkLst>
            <pc:docMk/>
            <pc:sldMk cId="1509353072" sldId="274"/>
            <ac:spMk id="2" creationId="{3CF251FA-1844-A8C5-F468-236DFE333E84}"/>
          </ac:spMkLst>
        </pc:spChg>
        <pc:graphicFrameChg chg="mod modGraphic">
          <ac:chgData name="Rikke Bækgaard Christensen" userId="895b20d1-8a83-4427-801b-a124aada3673" providerId="ADAL" clId="{FA393C0D-DE56-452F-BBA7-E7A7562803E4}" dt="2024-11-25T10:23:05.046" v="5428" actId="20577"/>
          <ac:graphicFrameMkLst>
            <pc:docMk/>
            <pc:sldMk cId="1509353072" sldId="274"/>
            <ac:graphicFrameMk id="4" creationId="{F292774B-8A82-1B6C-18D0-462C2BBEB07A}"/>
          </ac:graphicFrameMkLst>
        </pc:graphicFrameChg>
      </pc:sldChg>
      <pc:sldChg chg="addSp delSp modSp add mod">
        <pc:chgData name="Rikke Bækgaard Christensen" userId="895b20d1-8a83-4427-801b-a124aada3673" providerId="ADAL" clId="{FA393C0D-DE56-452F-BBA7-E7A7562803E4}" dt="2024-11-25T12:08:16.819" v="6737" actId="1076"/>
        <pc:sldMkLst>
          <pc:docMk/>
          <pc:sldMk cId="3349083796" sldId="275"/>
        </pc:sldMkLst>
        <pc:spChg chg="add mod">
          <ac:chgData name="Rikke Bækgaard Christensen" userId="895b20d1-8a83-4427-801b-a124aada3673" providerId="ADAL" clId="{FA393C0D-DE56-452F-BBA7-E7A7562803E4}" dt="2024-11-25T12:06:49.270" v="6678" actId="207"/>
          <ac:spMkLst>
            <pc:docMk/>
            <pc:sldMk cId="3349083796" sldId="275"/>
            <ac:spMk id="2" creationId="{28EAB537-5545-21F2-9B46-2014E9F97BD5}"/>
          </ac:spMkLst>
        </pc:spChg>
        <pc:spChg chg="add mod">
          <ac:chgData name="Rikke Bækgaard Christensen" userId="895b20d1-8a83-4427-801b-a124aada3673" providerId="ADAL" clId="{FA393C0D-DE56-452F-BBA7-E7A7562803E4}" dt="2024-11-25T12:06:53.311" v="6679" actId="207"/>
          <ac:spMkLst>
            <pc:docMk/>
            <pc:sldMk cId="3349083796" sldId="275"/>
            <ac:spMk id="3" creationId="{476FCC55-6AA1-CD03-0C29-CD77C16C6046}"/>
          </ac:spMkLst>
        </pc:spChg>
        <pc:spChg chg="add mod">
          <ac:chgData name="Rikke Bækgaard Christensen" userId="895b20d1-8a83-4427-801b-a124aada3673" providerId="ADAL" clId="{FA393C0D-DE56-452F-BBA7-E7A7562803E4}" dt="2024-11-25T12:06:12.479" v="6668" actId="1076"/>
          <ac:spMkLst>
            <pc:docMk/>
            <pc:sldMk cId="3349083796" sldId="275"/>
            <ac:spMk id="4" creationId="{B32C0E6D-F0CF-2342-131A-1EDDADC7BA51}"/>
          </ac:spMkLst>
        </pc:spChg>
        <pc:spChg chg="add mod">
          <ac:chgData name="Rikke Bækgaard Christensen" userId="895b20d1-8a83-4427-801b-a124aada3673" providerId="ADAL" clId="{FA393C0D-DE56-452F-BBA7-E7A7562803E4}" dt="2024-11-25T12:06:17.769" v="6670" actId="1076"/>
          <ac:spMkLst>
            <pc:docMk/>
            <pc:sldMk cId="3349083796" sldId="275"/>
            <ac:spMk id="5" creationId="{A3325BFE-C5E4-8846-6EF4-FE6C8EEC5160}"/>
          </ac:spMkLst>
        </pc:spChg>
        <pc:spChg chg="add mod">
          <ac:chgData name="Rikke Bækgaard Christensen" userId="895b20d1-8a83-4427-801b-a124aada3673" providerId="ADAL" clId="{FA393C0D-DE56-452F-BBA7-E7A7562803E4}" dt="2024-11-25T12:08:07.787" v="6734" actId="1076"/>
          <ac:spMkLst>
            <pc:docMk/>
            <pc:sldMk cId="3349083796" sldId="275"/>
            <ac:spMk id="8" creationId="{215421A6-ABFB-41D0-73F0-656D6CFC1E79}"/>
          </ac:spMkLst>
        </pc:spChg>
        <pc:spChg chg="add mod">
          <ac:chgData name="Rikke Bækgaard Christensen" userId="895b20d1-8a83-4427-801b-a124aada3673" providerId="ADAL" clId="{FA393C0D-DE56-452F-BBA7-E7A7562803E4}" dt="2024-11-25T12:08:14.171" v="6736" actId="1076"/>
          <ac:spMkLst>
            <pc:docMk/>
            <pc:sldMk cId="3349083796" sldId="275"/>
            <ac:spMk id="9" creationId="{A9FD06B8-3E8B-2760-E8A5-F7795DD96DC2}"/>
          </ac:spMkLst>
        </pc:spChg>
        <pc:spChg chg="add mod">
          <ac:chgData name="Rikke Bækgaard Christensen" userId="895b20d1-8a83-4427-801b-a124aada3673" providerId="ADAL" clId="{FA393C0D-DE56-452F-BBA7-E7A7562803E4}" dt="2024-11-25T12:07:58.589" v="6732" actId="1076"/>
          <ac:spMkLst>
            <pc:docMk/>
            <pc:sldMk cId="3349083796" sldId="275"/>
            <ac:spMk id="10" creationId="{3109FC2E-A39E-5E7F-7854-5E5E9D4BFFC8}"/>
          </ac:spMkLst>
        </pc:spChg>
        <pc:spChg chg="add mod">
          <ac:chgData name="Rikke Bækgaard Christensen" userId="895b20d1-8a83-4427-801b-a124aada3673" providerId="ADAL" clId="{FA393C0D-DE56-452F-BBA7-E7A7562803E4}" dt="2024-11-25T12:08:16.819" v="6737" actId="1076"/>
          <ac:spMkLst>
            <pc:docMk/>
            <pc:sldMk cId="3349083796" sldId="275"/>
            <ac:spMk id="11" creationId="{DEDC2BED-EBA8-0800-50C6-8A2E4ADD211D}"/>
          </ac:spMkLst>
        </pc:spChg>
        <pc:spChg chg="del">
          <ac:chgData name="Rikke Bækgaard Christensen" userId="895b20d1-8a83-4427-801b-a124aada3673" providerId="ADAL" clId="{FA393C0D-DE56-452F-BBA7-E7A7562803E4}" dt="2024-11-22T09:57:37.550" v="1213" actId="478"/>
          <ac:spMkLst>
            <pc:docMk/>
            <pc:sldMk cId="3349083796" sldId="275"/>
            <ac:spMk id="12" creationId="{5C14266B-6614-C6C0-7221-91D42977C749}"/>
          </ac:spMkLst>
        </pc:spChg>
        <pc:spChg chg="add mod">
          <ac:chgData name="Rikke Bækgaard Christensen" userId="895b20d1-8a83-4427-801b-a124aada3673" providerId="ADAL" clId="{FA393C0D-DE56-452F-BBA7-E7A7562803E4}" dt="2024-11-25T12:06:30.789" v="6674" actId="1076"/>
          <ac:spMkLst>
            <pc:docMk/>
            <pc:sldMk cId="3349083796" sldId="275"/>
            <ac:spMk id="12" creationId="{767F4DE4-602B-5FD9-9F85-795B631B91A5}"/>
          </ac:spMkLst>
        </pc:spChg>
        <pc:spChg chg="mod">
          <ac:chgData name="Rikke Bækgaard Christensen" userId="895b20d1-8a83-4427-801b-a124aada3673" providerId="ADAL" clId="{FA393C0D-DE56-452F-BBA7-E7A7562803E4}" dt="2024-11-22T09:58:48.182" v="1261" actId="6549"/>
          <ac:spMkLst>
            <pc:docMk/>
            <pc:sldMk cId="3349083796" sldId="275"/>
            <ac:spMk id="18" creationId="{A8B4CD23-742D-37C0-6CBF-C62CA1045C1D}"/>
          </ac:spMkLst>
        </pc:spChg>
        <pc:spChg chg="add mod">
          <ac:chgData name="Rikke Bækgaard Christensen" userId="895b20d1-8a83-4427-801b-a124aada3673" providerId="ADAL" clId="{FA393C0D-DE56-452F-BBA7-E7A7562803E4}" dt="2024-11-25T12:06:33.796" v="6675" actId="1076"/>
          <ac:spMkLst>
            <pc:docMk/>
            <pc:sldMk cId="3349083796" sldId="275"/>
            <ac:spMk id="19" creationId="{574C170B-4357-D6B4-0ED0-8A940A3B6DC2}"/>
          </ac:spMkLst>
        </pc:spChg>
        <pc:spChg chg="mod">
          <ac:chgData name="Rikke Bækgaard Christensen" userId="895b20d1-8a83-4427-801b-a124aada3673" providerId="ADAL" clId="{FA393C0D-DE56-452F-BBA7-E7A7562803E4}" dt="2024-11-25T12:07:06.506" v="6683" actId="207"/>
          <ac:spMkLst>
            <pc:docMk/>
            <pc:sldMk cId="3349083796" sldId="275"/>
            <ac:spMk id="22" creationId="{3D788330-405D-760B-17B5-0F09E5010F77}"/>
          </ac:spMkLst>
        </pc:spChg>
        <pc:spChg chg="del">
          <ac:chgData name="Rikke Bækgaard Christensen" userId="895b20d1-8a83-4427-801b-a124aada3673" providerId="ADAL" clId="{FA393C0D-DE56-452F-BBA7-E7A7562803E4}" dt="2024-11-22T09:58:07.305" v="1223" actId="478"/>
          <ac:spMkLst>
            <pc:docMk/>
            <pc:sldMk cId="3349083796" sldId="275"/>
            <ac:spMk id="23" creationId="{E9806424-BC09-3129-4E1D-484DBAD87F79}"/>
          </ac:spMkLst>
        </pc:spChg>
        <pc:spChg chg="mod">
          <ac:chgData name="Rikke Bækgaard Christensen" userId="895b20d1-8a83-4427-801b-a124aada3673" providerId="ADAL" clId="{FA393C0D-DE56-452F-BBA7-E7A7562803E4}" dt="2024-11-25T12:07:10.014" v="6684" actId="207"/>
          <ac:spMkLst>
            <pc:docMk/>
            <pc:sldMk cId="3349083796" sldId="275"/>
            <ac:spMk id="24" creationId="{8D262F18-1677-1143-A1D9-614EC1DFAD96}"/>
          </ac:spMkLst>
        </pc:spChg>
        <pc:spChg chg="mod">
          <ac:chgData name="Rikke Bækgaard Christensen" userId="895b20d1-8a83-4427-801b-a124aada3673" providerId="ADAL" clId="{FA393C0D-DE56-452F-BBA7-E7A7562803E4}" dt="2024-11-25T12:07:12.893" v="6685" actId="207"/>
          <ac:spMkLst>
            <pc:docMk/>
            <pc:sldMk cId="3349083796" sldId="275"/>
            <ac:spMk id="25" creationId="{CE4A372C-A30C-5D2D-4D59-9D3934E26FE9}"/>
          </ac:spMkLst>
        </pc:spChg>
        <pc:spChg chg="mod">
          <ac:chgData name="Rikke Bækgaard Christensen" userId="895b20d1-8a83-4427-801b-a124aada3673" providerId="ADAL" clId="{FA393C0D-DE56-452F-BBA7-E7A7562803E4}" dt="2024-11-25T12:07:00.352" v="6680" actId="207"/>
          <ac:spMkLst>
            <pc:docMk/>
            <pc:sldMk cId="3349083796" sldId="275"/>
            <ac:spMk id="26" creationId="{B0190B75-7CEB-7D4F-351E-D5615DB8CC9D}"/>
          </ac:spMkLst>
        </pc:spChg>
        <pc:cxnChg chg="del">
          <ac:chgData name="Rikke Bækgaard Christensen" userId="895b20d1-8a83-4427-801b-a124aada3673" providerId="ADAL" clId="{FA393C0D-DE56-452F-BBA7-E7A7562803E4}" dt="2024-11-22T09:58:01.985" v="1221" actId="478"/>
          <ac:cxnSpMkLst>
            <pc:docMk/>
            <pc:sldMk cId="3349083796" sldId="275"/>
            <ac:cxnSpMk id="27" creationId="{D694AC6F-56CC-9E16-4F1A-893646008BB4}"/>
          </ac:cxnSpMkLst>
        </pc:cxnChg>
        <pc:cxnChg chg="del">
          <ac:chgData name="Rikke Bækgaard Christensen" userId="895b20d1-8a83-4427-801b-a124aada3673" providerId="ADAL" clId="{FA393C0D-DE56-452F-BBA7-E7A7562803E4}" dt="2024-11-22T09:58:03.970" v="1222" actId="478"/>
          <ac:cxnSpMkLst>
            <pc:docMk/>
            <pc:sldMk cId="3349083796" sldId="275"/>
            <ac:cxnSpMk id="28" creationId="{AE3B5557-0C36-2723-52AA-60A8385AAC13}"/>
          </ac:cxnSpMkLst>
        </pc:cxnChg>
      </pc:sldChg>
      <pc:sldChg chg="new del">
        <pc:chgData name="Rikke Bækgaard Christensen" userId="895b20d1-8a83-4427-801b-a124aada3673" providerId="ADAL" clId="{FA393C0D-DE56-452F-BBA7-E7A7562803E4}" dt="2024-11-22T09:56:16.476" v="1158" actId="47"/>
        <pc:sldMkLst>
          <pc:docMk/>
          <pc:sldMk cId="2112309421" sldId="276"/>
        </pc:sldMkLst>
      </pc:sldChg>
      <pc:sldChg chg="addSp modSp add mod ord">
        <pc:chgData name="Rikke Bækgaard Christensen" userId="895b20d1-8a83-4427-801b-a124aada3673" providerId="ADAL" clId="{FA393C0D-DE56-452F-BBA7-E7A7562803E4}" dt="2024-11-26T10:06:16.829" v="6986" actId="20577"/>
        <pc:sldMkLst>
          <pc:docMk/>
          <pc:sldMk cId="3243842822" sldId="276"/>
        </pc:sldMkLst>
        <pc:spChg chg="mod">
          <ac:chgData name="Rikke Bækgaard Christensen" userId="895b20d1-8a83-4427-801b-a124aada3673" providerId="ADAL" clId="{FA393C0D-DE56-452F-BBA7-E7A7562803E4}" dt="2024-11-25T12:10:42.544" v="6910" actId="1076"/>
          <ac:spMkLst>
            <pc:docMk/>
            <pc:sldMk cId="3243842822" sldId="276"/>
            <ac:spMk id="2" creationId="{BEC91713-A377-2E71-FE3C-B395B5157C52}"/>
          </ac:spMkLst>
        </pc:spChg>
        <pc:spChg chg="mod">
          <ac:chgData name="Rikke Bækgaard Christensen" userId="895b20d1-8a83-4427-801b-a124aada3673" providerId="ADAL" clId="{FA393C0D-DE56-452F-BBA7-E7A7562803E4}" dt="2024-11-25T12:10:23.938" v="6904" actId="1076"/>
          <ac:spMkLst>
            <pc:docMk/>
            <pc:sldMk cId="3243842822" sldId="276"/>
            <ac:spMk id="3" creationId="{DEA6AC64-AE84-5B59-F5A2-E6FBE7D0E691}"/>
          </ac:spMkLst>
        </pc:spChg>
        <pc:spChg chg="mod">
          <ac:chgData name="Rikke Bækgaard Christensen" userId="895b20d1-8a83-4427-801b-a124aada3673" providerId="ADAL" clId="{FA393C0D-DE56-452F-BBA7-E7A7562803E4}" dt="2024-11-25T12:10:40.388" v="6909" actId="1076"/>
          <ac:spMkLst>
            <pc:docMk/>
            <pc:sldMk cId="3243842822" sldId="276"/>
            <ac:spMk id="4" creationId="{D38129E3-70B3-2838-1BD0-5DFF9ABB95D1}"/>
          </ac:spMkLst>
        </pc:spChg>
        <pc:spChg chg="mod">
          <ac:chgData name="Rikke Bækgaard Christensen" userId="895b20d1-8a83-4427-801b-a124aada3673" providerId="ADAL" clId="{FA393C0D-DE56-452F-BBA7-E7A7562803E4}" dt="2024-11-25T12:11:09.053" v="6927" actId="1076"/>
          <ac:spMkLst>
            <pc:docMk/>
            <pc:sldMk cId="3243842822" sldId="276"/>
            <ac:spMk id="5" creationId="{33D86C8E-0447-A0E8-AE51-2300189F4978}"/>
          </ac:spMkLst>
        </pc:spChg>
        <pc:spChg chg="add mod">
          <ac:chgData name="Rikke Bækgaard Christensen" userId="895b20d1-8a83-4427-801b-a124aada3673" providerId="ADAL" clId="{FA393C0D-DE56-452F-BBA7-E7A7562803E4}" dt="2024-11-26T10:06:16.829" v="6986" actId="20577"/>
          <ac:spMkLst>
            <pc:docMk/>
            <pc:sldMk cId="3243842822" sldId="276"/>
            <ac:spMk id="8" creationId="{4A50D7CB-BC67-EBA0-A5DB-F2B74F4B0269}"/>
          </ac:spMkLst>
        </pc:spChg>
        <pc:spChg chg="mod">
          <ac:chgData name="Rikke Bækgaard Christensen" userId="895b20d1-8a83-4427-801b-a124aada3673" providerId="ADAL" clId="{FA393C0D-DE56-452F-BBA7-E7A7562803E4}" dt="2024-11-26T10:06:00.989" v="6961" actId="1076"/>
          <ac:spMkLst>
            <pc:docMk/>
            <pc:sldMk cId="3243842822" sldId="276"/>
            <ac:spMk id="9" creationId="{B815A539-D26F-9142-CA1F-8D4C7190E887}"/>
          </ac:spMkLst>
        </pc:spChg>
        <pc:spChg chg="mod">
          <ac:chgData name="Rikke Bækgaard Christensen" userId="895b20d1-8a83-4427-801b-a124aada3673" providerId="ADAL" clId="{FA393C0D-DE56-452F-BBA7-E7A7562803E4}" dt="2024-11-25T12:11:05.435" v="6926" actId="1076"/>
          <ac:spMkLst>
            <pc:docMk/>
            <pc:sldMk cId="3243842822" sldId="276"/>
            <ac:spMk id="11" creationId="{74EA0329-A8BE-B89D-3E41-37387230F784}"/>
          </ac:spMkLst>
        </pc:spChg>
        <pc:spChg chg="mod">
          <ac:chgData name="Rikke Bækgaard Christensen" userId="895b20d1-8a83-4427-801b-a124aada3673" providerId="ADAL" clId="{FA393C0D-DE56-452F-BBA7-E7A7562803E4}" dt="2024-11-22T09:58:58.245" v="1276" actId="20577"/>
          <ac:spMkLst>
            <pc:docMk/>
            <pc:sldMk cId="3243842822" sldId="276"/>
            <ac:spMk id="18" creationId="{A8B4CD23-742D-37C0-6CBF-C62CA1045C1D}"/>
          </ac:spMkLst>
        </pc:spChg>
        <pc:spChg chg="mod">
          <ac:chgData name="Rikke Bækgaard Christensen" userId="895b20d1-8a83-4427-801b-a124aada3673" providerId="ADAL" clId="{FA393C0D-DE56-452F-BBA7-E7A7562803E4}" dt="2024-11-25T12:10:27.954" v="6905" actId="1076"/>
          <ac:spMkLst>
            <pc:docMk/>
            <pc:sldMk cId="3243842822" sldId="276"/>
            <ac:spMk id="19" creationId="{0C186FF6-493E-09E7-F6BE-72A7F7D0F499}"/>
          </ac:spMkLst>
        </pc:spChg>
        <pc:spChg chg="mod">
          <ac:chgData name="Rikke Bækgaard Christensen" userId="895b20d1-8a83-4427-801b-a124aada3673" providerId="ADAL" clId="{FA393C0D-DE56-452F-BBA7-E7A7562803E4}" dt="2024-11-26T10:05:55.665" v="6960" actId="1076"/>
          <ac:spMkLst>
            <pc:docMk/>
            <pc:sldMk cId="3243842822" sldId="276"/>
            <ac:spMk id="20" creationId="{AC289A7B-FACF-63B6-B814-271FBF883434}"/>
          </ac:spMkLst>
        </pc:spChg>
      </pc:sldChg>
      <pc:sldChg chg="new del">
        <pc:chgData name="Rikke Bækgaard Christensen" userId="895b20d1-8a83-4427-801b-a124aada3673" providerId="ADAL" clId="{FA393C0D-DE56-452F-BBA7-E7A7562803E4}" dt="2024-11-25T09:08:13.572" v="1486" actId="47"/>
        <pc:sldMkLst>
          <pc:docMk/>
          <pc:sldMk cId="353523993" sldId="277"/>
        </pc:sldMkLst>
      </pc:sldChg>
      <pc:sldChg chg="modSp add mod modNotesTx">
        <pc:chgData name="Rikke Bækgaard Christensen" userId="895b20d1-8a83-4427-801b-a124aada3673" providerId="ADAL" clId="{FA393C0D-DE56-452F-BBA7-E7A7562803E4}" dt="2024-11-25T09:15:58.832" v="1557" actId="6549"/>
        <pc:sldMkLst>
          <pc:docMk/>
          <pc:sldMk cId="2924114487" sldId="277"/>
        </pc:sldMkLst>
        <pc:spChg chg="mod">
          <ac:chgData name="Rikke Bækgaard Christensen" userId="895b20d1-8a83-4427-801b-a124aada3673" providerId="ADAL" clId="{FA393C0D-DE56-452F-BBA7-E7A7562803E4}" dt="2024-11-25T09:08:41.908" v="1493" actId="404"/>
          <ac:spMkLst>
            <pc:docMk/>
            <pc:sldMk cId="2924114487" sldId="277"/>
            <ac:spMk id="8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8:47.715" v="1494" actId="255"/>
          <ac:spMkLst>
            <pc:docMk/>
            <pc:sldMk cId="2924114487" sldId="277"/>
            <ac:spMk id="9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8:52.471" v="1495" actId="255"/>
          <ac:spMkLst>
            <pc:docMk/>
            <pc:sldMk cId="2924114487" sldId="277"/>
            <ac:spMk id="15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8:57.317" v="1496" actId="255"/>
          <ac:spMkLst>
            <pc:docMk/>
            <pc:sldMk cId="2924114487" sldId="277"/>
            <ac:spMk id="16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9:01.355" v="1497" actId="255"/>
          <ac:spMkLst>
            <pc:docMk/>
            <pc:sldMk cId="2924114487" sldId="277"/>
            <ac:spMk id="25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9:05.430" v="1498" actId="255"/>
          <ac:spMkLst>
            <pc:docMk/>
            <pc:sldMk cId="2924114487" sldId="277"/>
            <ac:spMk id="26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9:09.935" v="1499" actId="255"/>
          <ac:spMkLst>
            <pc:docMk/>
            <pc:sldMk cId="2924114487" sldId="277"/>
            <ac:spMk id="27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09:14.070" v="1500" actId="255"/>
          <ac:spMkLst>
            <pc:docMk/>
            <pc:sldMk cId="2924114487" sldId="277"/>
            <ac:spMk id="28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15:58.832" v="1557" actId="6549"/>
          <ac:spMkLst>
            <pc:docMk/>
            <pc:sldMk cId="2924114487" sldId="277"/>
            <ac:spMk id="29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15:20.441" v="1553" actId="20577"/>
          <ac:spMkLst>
            <pc:docMk/>
            <pc:sldMk cId="2924114487" sldId="277"/>
            <ac:spMk id="30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14:45.861" v="1549" actId="20577"/>
          <ac:spMkLst>
            <pc:docMk/>
            <pc:sldMk cId="2924114487" sldId="277"/>
            <ac:spMk id="31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5T09:14:32.966" v="1541" actId="20577"/>
          <ac:spMkLst>
            <pc:docMk/>
            <pc:sldMk cId="2924114487" sldId="277"/>
            <ac:spMk id="32" creationId="{00000000-0000-0000-0000-000000000000}"/>
          </ac:spMkLst>
        </pc:spChg>
      </pc:sldChg>
      <pc:sldChg chg="addSp delSp modSp add mod modNotesTx">
        <pc:chgData name="Rikke Bækgaard Christensen" userId="895b20d1-8a83-4427-801b-a124aada3673" providerId="ADAL" clId="{FA393C0D-DE56-452F-BBA7-E7A7562803E4}" dt="2024-11-25T09:49:00.530" v="1896" actId="1076"/>
        <pc:sldMkLst>
          <pc:docMk/>
          <pc:sldMk cId="416321808" sldId="278"/>
        </pc:sldMkLst>
        <pc:spChg chg="add del mod">
          <ac:chgData name="Rikke Bækgaard Christensen" userId="895b20d1-8a83-4427-801b-a124aada3673" providerId="ADAL" clId="{FA393C0D-DE56-452F-BBA7-E7A7562803E4}" dt="2024-11-25T09:26:15.913" v="1621" actId="478"/>
          <ac:spMkLst>
            <pc:docMk/>
            <pc:sldMk cId="416321808" sldId="278"/>
            <ac:spMk id="4" creationId="{7B040820-7645-6D15-98BB-76FB840CB83F}"/>
          </ac:spMkLst>
        </pc:spChg>
        <pc:spChg chg="add del mod">
          <ac:chgData name="Rikke Bækgaard Christensen" userId="895b20d1-8a83-4427-801b-a124aada3673" providerId="ADAL" clId="{FA393C0D-DE56-452F-BBA7-E7A7562803E4}" dt="2024-11-25T09:26:17.311" v="1622" actId="478"/>
          <ac:spMkLst>
            <pc:docMk/>
            <pc:sldMk cId="416321808" sldId="278"/>
            <ac:spMk id="6" creationId="{49242A7E-40FF-9EE7-4ED5-AC6604618DD3}"/>
          </ac:spMkLst>
        </pc:spChg>
        <pc:spChg chg="del">
          <ac:chgData name="Rikke Bækgaard Christensen" userId="895b20d1-8a83-4427-801b-a124aada3673" providerId="ADAL" clId="{FA393C0D-DE56-452F-BBA7-E7A7562803E4}" dt="2024-11-25T09:23:07.177" v="1588" actId="478"/>
          <ac:spMkLst>
            <pc:docMk/>
            <pc:sldMk cId="416321808" sldId="278"/>
            <ac:spMk id="7" creationId="{6DCD5A0D-677B-F31F-2203-FE36638934F9}"/>
          </ac:spMkLst>
        </pc:spChg>
        <pc:spChg chg="add mod">
          <ac:chgData name="Rikke Bækgaard Christensen" userId="895b20d1-8a83-4427-801b-a124aada3673" providerId="ADAL" clId="{FA393C0D-DE56-452F-BBA7-E7A7562803E4}" dt="2024-11-25T09:48:41.478" v="1891" actId="403"/>
          <ac:spMkLst>
            <pc:docMk/>
            <pc:sldMk cId="416321808" sldId="278"/>
            <ac:spMk id="8" creationId="{E3FB19BF-EA34-3A22-F704-6689EAD0542E}"/>
          </ac:spMkLst>
        </pc:spChg>
        <pc:spChg chg="add mod">
          <ac:chgData name="Rikke Bækgaard Christensen" userId="895b20d1-8a83-4427-801b-a124aada3673" providerId="ADAL" clId="{FA393C0D-DE56-452F-BBA7-E7A7562803E4}" dt="2024-11-25T09:48:50.691" v="1893" actId="1076"/>
          <ac:spMkLst>
            <pc:docMk/>
            <pc:sldMk cId="416321808" sldId="278"/>
            <ac:spMk id="13" creationId="{2A5A5208-E582-2E33-0271-7E6A0B29635D}"/>
          </ac:spMkLst>
        </pc:spChg>
        <pc:spChg chg="add mod">
          <ac:chgData name="Rikke Bækgaard Christensen" userId="895b20d1-8a83-4427-801b-a124aada3673" providerId="ADAL" clId="{FA393C0D-DE56-452F-BBA7-E7A7562803E4}" dt="2024-11-25T09:48:47.414" v="1892" actId="1076"/>
          <ac:spMkLst>
            <pc:docMk/>
            <pc:sldMk cId="416321808" sldId="278"/>
            <ac:spMk id="14" creationId="{4D470616-0E6F-08F5-D2DE-50C417520C8F}"/>
          </ac:spMkLst>
        </pc:spChg>
        <pc:spChg chg="add mod">
          <ac:chgData name="Rikke Bækgaard Christensen" userId="895b20d1-8a83-4427-801b-a124aada3673" providerId="ADAL" clId="{FA393C0D-DE56-452F-BBA7-E7A7562803E4}" dt="2024-11-25T09:48:52.895" v="1894" actId="14100"/>
          <ac:spMkLst>
            <pc:docMk/>
            <pc:sldMk cId="416321808" sldId="278"/>
            <ac:spMk id="17" creationId="{B1254DD2-31E2-6F46-8AE0-E4F8623FB317}"/>
          </ac:spMkLst>
        </pc:spChg>
        <pc:spChg chg="add mod">
          <ac:chgData name="Rikke Bækgaard Christensen" userId="895b20d1-8a83-4427-801b-a124aada3673" providerId="ADAL" clId="{FA393C0D-DE56-452F-BBA7-E7A7562803E4}" dt="2024-11-25T09:49:00.530" v="1896" actId="1076"/>
          <ac:spMkLst>
            <pc:docMk/>
            <pc:sldMk cId="416321808" sldId="278"/>
            <ac:spMk id="18" creationId="{528B14E5-81A1-FF07-A4E8-0A0083EEA1D4}"/>
          </ac:spMkLst>
        </pc:spChg>
        <pc:picChg chg="add mod modCrop">
          <ac:chgData name="Rikke Bækgaard Christensen" userId="895b20d1-8a83-4427-801b-a124aada3673" providerId="ADAL" clId="{FA393C0D-DE56-452F-BBA7-E7A7562803E4}" dt="2024-11-25T09:41:10.784" v="1684" actId="1076"/>
          <ac:picMkLst>
            <pc:docMk/>
            <pc:sldMk cId="416321808" sldId="278"/>
            <ac:picMk id="2" creationId="{6870A8E3-1C35-4367-785A-DD6238A49226}"/>
          </ac:picMkLst>
        </pc:picChg>
        <pc:picChg chg="del">
          <ac:chgData name="Rikke Bækgaard Christensen" userId="895b20d1-8a83-4427-801b-a124aada3673" providerId="ADAL" clId="{FA393C0D-DE56-452F-BBA7-E7A7562803E4}" dt="2024-11-25T09:23:00.586" v="1586" actId="478"/>
          <ac:picMkLst>
            <pc:docMk/>
            <pc:sldMk cId="416321808" sldId="278"/>
            <ac:picMk id="5" creationId="{6870A8E3-1C35-4367-785A-DD6238A49226}"/>
          </ac:picMkLst>
        </pc:picChg>
        <pc:picChg chg="add del mod">
          <ac:chgData name="Rikke Bækgaard Christensen" userId="895b20d1-8a83-4427-801b-a124aada3673" providerId="ADAL" clId="{FA393C0D-DE56-452F-BBA7-E7A7562803E4}" dt="2024-11-25T09:42:45.155" v="1716" actId="478"/>
          <ac:picMkLst>
            <pc:docMk/>
            <pc:sldMk cId="416321808" sldId="278"/>
            <ac:picMk id="10" creationId="{65B83317-F1E6-5704-6C16-C8497746ECBA}"/>
          </ac:picMkLst>
        </pc:picChg>
        <pc:picChg chg="add del mod">
          <ac:chgData name="Rikke Bækgaard Christensen" userId="895b20d1-8a83-4427-801b-a124aada3673" providerId="ADAL" clId="{FA393C0D-DE56-452F-BBA7-E7A7562803E4}" dt="2024-11-25T09:42:00.802" v="1694" actId="21"/>
          <ac:picMkLst>
            <pc:docMk/>
            <pc:sldMk cId="416321808" sldId="278"/>
            <ac:picMk id="12" creationId="{BB7B543D-286F-F710-3D4D-93125DF7D4F8}"/>
          </ac:picMkLst>
        </pc:picChg>
        <pc:picChg chg="add mod modCrop">
          <ac:chgData name="Rikke Bækgaard Christensen" userId="895b20d1-8a83-4427-801b-a124aada3673" providerId="ADAL" clId="{FA393C0D-DE56-452F-BBA7-E7A7562803E4}" dt="2024-11-25T09:41:09.305" v="1683" actId="1076"/>
          <ac:picMkLst>
            <pc:docMk/>
            <pc:sldMk cId="416321808" sldId="278"/>
            <ac:picMk id="16" creationId="{9D919091-FA1A-97B6-F3F4-DAFAD06FB8BB}"/>
          </ac:picMkLst>
        </pc:picChg>
      </pc:sldChg>
      <pc:sldChg chg="add">
        <pc:chgData name="Rikke Bækgaard Christensen" userId="895b20d1-8a83-4427-801b-a124aada3673" providerId="ADAL" clId="{FA393C0D-DE56-452F-BBA7-E7A7562803E4}" dt="2024-11-25T12:13:59.788" v="6928"/>
        <pc:sldMkLst>
          <pc:docMk/>
          <pc:sldMk cId="710119179" sldId="279"/>
        </pc:sldMkLst>
      </pc:sldChg>
      <pc:sldChg chg="add">
        <pc:chgData name="Rikke Bækgaard Christensen" userId="895b20d1-8a83-4427-801b-a124aada3673" providerId="ADAL" clId="{FA393C0D-DE56-452F-BBA7-E7A7562803E4}" dt="2024-11-22T09:43:20.615" v="819"/>
        <pc:sldMkLst>
          <pc:docMk/>
          <pc:sldMk cId="3574459502" sldId="2142532647"/>
        </pc:sldMkLst>
      </pc:sldChg>
      <pc:sldChg chg="addSp delSp modSp add mod modNotesTx">
        <pc:chgData name="Rikke Bækgaard Christensen" userId="895b20d1-8a83-4427-801b-a124aada3673" providerId="ADAL" clId="{FA393C0D-DE56-452F-BBA7-E7A7562803E4}" dt="2024-11-25T09:13:54.492" v="1537" actId="6549"/>
        <pc:sldMkLst>
          <pc:docMk/>
          <pc:sldMk cId="2997360621" sldId="2142532687"/>
        </pc:sldMkLst>
        <pc:spChg chg="add mod ord">
          <ac:chgData name="Rikke Bækgaard Christensen" userId="895b20d1-8a83-4427-801b-a124aada3673" providerId="ADAL" clId="{FA393C0D-DE56-452F-BBA7-E7A7562803E4}" dt="2024-11-25T09:10:20.537" v="1513" actId="1076"/>
          <ac:spMkLst>
            <pc:docMk/>
            <pc:sldMk cId="2997360621" sldId="2142532687"/>
            <ac:spMk id="2" creationId="{00B51F80-8B1E-7AE3-3F94-9CA1CD385B94}"/>
          </ac:spMkLst>
        </pc:spChg>
        <pc:spChg chg="mod ord">
          <ac:chgData name="Rikke Bækgaard Christensen" userId="895b20d1-8a83-4427-801b-a124aada3673" providerId="ADAL" clId="{FA393C0D-DE56-452F-BBA7-E7A7562803E4}" dt="2024-11-25T09:13:47.472" v="1536" actId="1076"/>
          <ac:spMkLst>
            <pc:docMk/>
            <pc:sldMk cId="2997360621" sldId="2142532687"/>
            <ac:spMk id="3" creationId="{CBF54D89-3ED9-A203-94A9-E5B7774060EB}"/>
          </ac:spMkLst>
        </pc:spChg>
        <pc:spChg chg="mod">
          <ac:chgData name="Rikke Bækgaard Christensen" userId="895b20d1-8a83-4427-801b-a124aada3673" providerId="ADAL" clId="{FA393C0D-DE56-452F-BBA7-E7A7562803E4}" dt="2024-11-25T09:10:39.454" v="1518" actId="20577"/>
          <ac:spMkLst>
            <pc:docMk/>
            <pc:sldMk cId="2997360621" sldId="2142532687"/>
            <ac:spMk id="12" creationId="{373F1FD8-FF0C-3902-E116-2169F77B8E2A}"/>
          </ac:spMkLst>
        </pc:spChg>
        <pc:graphicFrameChg chg="del mod">
          <ac:chgData name="Rikke Bækgaard Christensen" userId="895b20d1-8a83-4427-801b-a124aada3673" providerId="ADAL" clId="{FA393C0D-DE56-452F-BBA7-E7A7562803E4}" dt="2024-11-25T09:13:25.217" v="1530" actId="478"/>
          <ac:graphicFrameMkLst>
            <pc:docMk/>
            <pc:sldMk cId="2997360621" sldId="2142532687"/>
            <ac:graphicFrameMk id="4" creationId="{EFFB1C39-0923-4E59-AF04-2F12CA56D462}"/>
          </ac:graphicFrameMkLst>
        </pc:graphicFrameChg>
        <pc:graphicFrameChg chg="add mod">
          <ac:chgData name="Rikke Bækgaard Christensen" userId="895b20d1-8a83-4427-801b-a124aada3673" providerId="ADAL" clId="{FA393C0D-DE56-452F-BBA7-E7A7562803E4}" dt="2024-11-25T09:13:44.109" v="1535" actId="1076"/>
          <ac:graphicFrameMkLst>
            <pc:docMk/>
            <pc:sldMk cId="2997360621" sldId="2142532687"/>
            <ac:graphicFrameMk id="5" creationId="{EFFB1C39-0923-4E59-AF04-2F12CA56D462}"/>
          </ac:graphicFrameMkLst>
        </pc:graphicFrameChg>
      </pc:sldChg>
      <pc:sldChg chg="modSp add del mod">
        <pc:chgData name="Rikke Bækgaard Christensen" userId="895b20d1-8a83-4427-801b-a124aada3673" providerId="ADAL" clId="{FA393C0D-DE56-452F-BBA7-E7A7562803E4}" dt="2024-11-25T09:09:30.832" v="1502" actId="47"/>
        <pc:sldMkLst>
          <pc:docMk/>
          <pc:sldMk cId="2651241583" sldId="2142532706"/>
        </pc:sldMkLst>
        <pc:spChg chg="mod">
          <ac:chgData name="Rikke Bækgaard Christensen" userId="895b20d1-8a83-4427-801b-a124aada3673" providerId="ADAL" clId="{FA393C0D-DE56-452F-BBA7-E7A7562803E4}" dt="2024-11-22T09:43:57.255" v="824" actId="1076"/>
          <ac:spMkLst>
            <pc:docMk/>
            <pc:sldMk cId="2651241583" sldId="2142532706"/>
            <ac:spMk id="2" creationId="{0BFAB2BC-F688-14C7-7D83-C3243579C5BF}"/>
          </ac:spMkLst>
        </pc:spChg>
      </pc:sldChg>
      <pc:sldChg chg="add setBg">
        <pc:chgData name="Rikke Bækgaard Christensen" userId="895b20d1-8a83-4427-801b-a124aada3673" providerId="ADAL" clId="{FA393C0D-DE56-452F-BBA7-E7A7562803E4}" dt="2024-11-22T09:50:15.905" v="943"/>
        <pc:sldMkLst>
          <pc:docMk/>
          <pc:sldMk cId="2507304851" sldId="2147483610"/>
        </pc:sldMkLst>
      </pc:sldChg>
      <pc:sldChg chg="mod modShow">
        <pc:chgData name="Rikke Bækgaard Christensen" userId="895b20d1-8a83-4427-801b-a124aada3673" providerId="ADAL" clId="{FA393C0D-DE56-452F-BBA7-E7A7562803E4}" dt="2024-11-22T09:47:53.816" v="859" actId="729"/>
        <pc:sldMkLst>
          <pc:docMk/>
          <pc:sldMk cId="2050648597" sldId="2147483637"/>
        </pc:sldMkLst>
      </pc:sldChg>
      <pc:sldChg chg="addSp modSp mod ord modNotesTx">
        <pc:chgData name="Rikke Bækgaard Christensen" userId="895b20d1-8a83-4427-801b-a124aada3673" providerId="ADAL" clId="{FA393C0D-DE56-452F-BBA7-E7A7562803E4}" dt="2024-11-25T09:59:51.802" v="2830" actId="6549"/>
        <pc:sldMkLst>
          <pc:docMk/>
          <pc:sldMk cId="0" sldId="2147483639"/>
        </pc:sldMkLst>
        <pc:spChg chg="mod">
          <ac:chgData name="Rikke Bækgaard Christensen" userId="895b20d1-8a83-4427-801b-a124aada3673" providerId="ADAL" clId="{FA393C0D-DE56-452F-BBA7-E7A7562803E4}" dt="2024-11-14T09:26:09.036" v="543" actId="20577"/>
          <ac:spMkLst>
            <pc:docMk/>
            <pc:sldMk cId="0" sldId="2147483639"/>
            <ac:spMk id="39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4T09:26:46.767" v="581" actId="207"/>
          <ac:spMkLst>
            <pc:docMk/>
            <pc:sldMk cId="0" sldId="2147483639"/>
            <ac:spMk id="50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4T09:26:53.114" v="582" actId="113"/>
          <ac:spMkLst>
            <pc:docMk/>
            <pc:sldMk cId="0" sldId="2147483639"/>
            <ac:spMk id="51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2T09:13:10.254" v="596" actId="20577"/>
          <ac:spMkLst>
            <pc:docMk/>
            <pc:sldMk cId="0" sldId="2147483639"/>
            <ac:spMk id="55" creationId="{163F4CF1-AA67-37B3-B91F-CF84351EE451}"/>
          </ac:spMkLst>
        </pc:spChg>
        <pc:grpChg chg="mod">
          <ac:chgData name="Rikke Bækgaard Christensen" userId="895b20d1-8a83-4427-801b-a124aada3673" providerId="ADAL" clId="{FA393C0D-DE56-452F-BBA7-E7A7562803E4}" dt="2024-11-14T09:26:46.767" v="581" actId="207"/>
          <ac:grpSpMkLst>
            <pc:docMk/>
            <pc:sldMk cId="0" sldId="2147483639"/>
            <ac:grpSpMk id="49" creationId="{00000000-0000-0000-0000-000000000000}"/>
          </ac:grpSpMkLst>
        </pc:grpChg>
        <pc:picChg chg="add mod">
          <ac:chgData name="Rikke Bækgaard Christensen" userId="895b20d1-8a83-4427-801b-a124aada3673" providerId="ADAL" clId="{FA393C0D-DE56-452F-BBA7-E7A7562803E4}" dt="2024-11-25T09:37:46.764" v="1681" actId="962"/>
          <ac:picMkLst>
            <pc:docMk/>
            <pc:sldMk cId="0" sldId="2147483639"/>
            <ac:picMk id="4" creationId="{0AFD2E63-3D6B-79F0-99D8-828876E4C27A}"/>
          </ac:picMkLst>
        </pc:picChg>
      </pc:sldChg>
      <pc:sldChg chg="del">
        <pc:chgData name="Rikke Bækgaard Christensen" userId="895b20d1-8a83-4427-801b-a124aada3673" providerId="ADAL" clId="{FA393C0D-DE56-452F-BBA7-E7A7562803E4}" dt="2024-11-11T14:04:45.714" v="58" actId="47"/>
        <pc:sldMkLst>
          <pc:docMk/>
          <pc:sldMk cId="1746580243" sldId="2147483642"/>
        </pc:sldMkLst>
      </pc:sldChg>
      <pc:sldChg chg="modSp add mod ord modShow">
        <pc:chgData name="Rikke Bækgaard Christensen" userId="895b20d1-8a83-4427-801b-a124aada3673" providerId="ADAL" clId="{FA393C0D-DE56-452F-BBA7-E7A7562803E4}" dt="2024-11-22T09:13:51.354" v="597" actId="729"/>
        <pc:sldMkLst>
          <pc:docMk/>
          <pc:sldMk cId="1372704301" sldId="2147483646"/>
        </pc:sldMkLst>
        <pc:spChg chg="mod">
          <ac:chgData name="Rikke Bækgaard Christensen" userId="895b20d1-8a83-4427-801b-a124aada3673" providerId="ADAL" clId="{FA393C0D-DE56-452F-BBA7-E7A7562803E4}" dt="2024-11-12T19:35:14" v="481" actId="20577"/>
          <ac:spMkLst>
            <pc:docMk/>
            <pc:sldMk cId="1372704301" sldId="2147483646"/>
            <ac:spMk id="8" creationId="{5B021FDF-6019-7AC6-C57C-B37ADCBCF3B4}"/>
          </ac:spMkLst>
        </pc:spChg>
      </pc:sldChg>
      <pc:sldChg chg="add del">
        <pc:chgData name="Rikke Bækgaard Christensen" userId="895b20d1-8a83-4427-801b-a124aada3673" providerId="ADAL" clId="{FA393C0D-DE56-452F-BBA7-E7A7562803E4}" dt="2024-11-12T19:24:15.403" v="233" actId="47"/>
        <pc:sldMkLst>
          <pc:docMk/>
          <pc:sldMk cId="2554297290" sldId="2147483646"/>
        </pc:sldMkLst>
      </pc:sldChg>
      <pc:sldChg chg="new del ord">
        <pc:chgData name="Rikke Bækgaard Christensen" userId="895b20d1-8a83-4427-801b-a124aada3673" providerId="ADAL" clId="{FA393C0D-DE56-452F-BBA7-E7A7562803E4}" dt="2024-11-22T09:29:43.473" v="751" actId="47"/>
        <pc:sldMkLst>
          <pc:docMk/>
          <pc:sldMk cId="418773293" sldId="2147483647"/>
        </pc:sldMkLst>
      </pc:sldChg>
      <pc:sldChg chg="delSp modSp add del mod ord">
        <pc:chgData name="Rikke Bækgaard Christensen" userId="895b20d1-8a83-4427-801b-a124aada3673" providerId="ADAL" clId="{FA393C0D-DE56-452F-BBA7-E7A7562803E4}" dt="2024-11-12T19:34:32.507" v="427" actId="47"/>
        <pc:sldMkLst>
          <pc:docMk/>
          <pc:sldMk cId="533668624" sldId="2147483647"/>
        </pc:sldMkLst>
        <pc:spChg chg="mod">
          <ac:chgData name="Rikke Bækgaard Christensen" userId="895b20d1-8a83-4427-801b-a124aada3673" providerId="ADAL" clId="{FA393C0D-DE56-452F-BBA7-E7A7562803E4}" dt="2024-11-12T19:21:37.265" v="189" actId="27636"/>
          <ac:spMkLst>
            <pc:docMk/>
            <pc:sldMk cId="533668624" sldId="2147483647"/>
            <ac:spMk id="2" creationId="{D4F0CE0B-C54F-33FD-1EC5-99D3EB45B46B}"/>
          </ac:spMkLst>
        </pc:spChg>
        <pc:picChg chg="del">
          <ac:chgData name="Rikke Bækgaard Christensen" userId="895b20d1-8a83-4427-801b-a124aada3673" providerId="ADAL" clId="{FA393C0D-DE56-452F-BBA7-E7A7562803E4}" dt="2024-11-12T19:34:12.974" v="423" actId="21"/>
          <ac:picMkLst>
            <pc:docMk/>
            <pc:sldMk cId="533668624" sldId="2147483647"/>
            <ac:picMk id="4" creationId="{62AF6613-9403-B556-0156-35D02706D3CD}"/>
          </ac:picMkLst>
        </pc:picChg>
      </pc:sldChg>
      <pc:sldChg chg="addSp delSp modSp add mod">
        <pc:chgData name="Rikke Bækgaard Christensen" userId="895b20d1-8a83-4427-801b-a124aada3673" providerId="ADAL" clId="{FA393C0D-DE56-452F-BBA7-E7A7562803E4}" dt="2024-11-25T09:48:28.067" v="1888" actId="2711"/>
        <pc:sldMkLst>
          <pc:docMk/>
          <pc:sldMk cId="1628057314" sldId="2147483647"/>
        </pc:sldMkLst>
        <pc:spChg chg="del">
          <ac:chgData name="Rikke Bækgaard Christensen" userId="895b20d1-8a83-4427-801b-a124aada3673" providerId="ADAL" clId="{FA393C0D-DE56-452F-BBA7-E7A7562803E4}" dt="2024-11-22T09:36:00.097" v="811" actId="478"/>
          <ac:spMkLst>
            <pc:docMk/>
            <pc:sldMk cId="1628057314" sldId="2147483647"/>
            <ac:spMk id="3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25T09:48:16.865" v="1887" actId="2711"/>
          <ac:spMkLst>
            <pc:docMk/>
            <pc:sldMk cId="1628057314" sldId="2147483647"/>
            <ac:spMk id="7" creationId="{6DCD5A0D-677B-F31F-2203-FE36638934F9}"/>
          </ac:spMkLst>
        </pc:spChg>
        <pc:spChg chg="del">
          <ac:chgData name="Rikke Bækgaard Christensen" userId="895b20d1-8a83-4427-801b-a124aada3673" providerId="ADAL" clId="{FA393C0D-DE56-452F-BBA7-E7A7562803E4}" dt="2024-11-22T09:36:14.662" v="818" actId="478"/>
          <ac:spMkLst>
            <pc:docMk/>
            <pc:sldMk cId="1628057314" sldId="2147483647"/>
            <ac:spMk id="8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25T09:42:26.828" v="1703" actId="14100"/>
          <ac:spMkLst>
            <pc:docMk/>
            <pc:sldMk cId="1628057314" sldId="2147483647"/>
            <ac:spMk id="9" creationId="{4DB59821-5514-7451-AC16-FA109C0A7A8E}"/>
          </ac:spMkLst>
        </pc:spChg>
        <pc:spChg chg="add mod">
          <ac:chgData name="Rikke Bækgaard Christensen" userId="895b20d1-8a83-4427-801b-a124aada3673" providerId="ADAL" clId="{FA393C0D-DE56-452F-BBA7-E7A7562803E4}" dt="2024-11-25T09:48:28.067" v="1888" actId="2711"/>
          <ac:spMkLst>
            <pc:docMk/>
            <pc:sldMk cId="1628057314" sldId="2147483647"/>
            <ac:spMk id="10" creationId="{BF226799-0292-41DF-9050-DF89953D57FA}"/>
          </ac:spMkLst>
        </pc:spChg>
        <pc:spChg chg="del">
          <ac:chgData name="Rikke Bækgaard Christensen" userId="895b20d1-8a83-4427-801b-a124aada3673" providerId="ADAL" clId="{FA393C0D-DE56-452F-BBA7-E7A7562803E4}" dt="2024-11-22T09:36:12.269" v="816" actId="478"/>
          <ac:spMkLst>
            <pc:docMk/>
            <pc:sldMk cId="1628057314" sldId="2147483647"/>
            <ac:spMk id="12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11.102" v="815" actId="478"/>
          <ac:spMkLst>
            <pc:docMk/>
            <pc:sldMk cId="1628057314" sldId="2147483647"/>
            <ac:spMk id="16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13.480" v="817" actId="478"/>
          <ac:spMkLst>
            <pc:docMk/>
            <pc:sldMk cId="1628057314" sldId="2147483647"/>
            <ac:spMk id="20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4.210" v="813" actId="478"/>
          <ac:spMkLst>
            <pc:docMk/>
            <pc:sldMk cId="1628057314" sldId="2147483647"/>
            <ac:spMk id="24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28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0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1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2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3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4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5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6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7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8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39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40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41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22T09:36:09.641" v="814" actId="478"/>
          <ac:spMkLst>
            <pc:docMk/>
            <pc:sldMk cId="1628057314" sldId="2147483647"/>
            <ac:spMk id="42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22T09:35:56.496" v="810" actId="20577"/>
          <ac:spMkLst>
            <pc:docMk/>
            <pc:sldMk cId="1628057314" sldId="2147483647"/>
            <ac:spMk id="55" creationId="{163F4CF1-AA67-37B3-B91F-CF84351EE451}"/>
          </ac:spMkLst>
        </pc:s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5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9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13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17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21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25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43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46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9.641" v="814" actId="478"/>
          <ac:grpSpMkLst>
            <pc:docMk/>
            <pc:sldMk cId="1628057314" sldId="2147483647"/>
            <ac:grpSpMk id="49" creationId="{00000000-0000-0000-0000-000000000000}"/>
          </ac:grpSpMkLst>
        </pc:grpChg>
        <pc:grpChg chg="del">
          <ac:chgData name="Rikke Bækgaard Christensen" userId="895b20d1-8a83-4427-801b-a124aada3673" providerId="ADAL" clId="{FA393C0D-DE56-452F-BBA7-E7A7562803E4}" dt="2024-11-22T09:36:02.033" v="812" actId="478"/>
          <ac:grpSpMkLst>
            <pc:docMk/>
            <pc:sldMk cId="1628057314" sldId="2147483647"/>
            <ac:grpSpMk id="52" creationId="{00000000-0000-0000-0000-000000000000}"/>
          </ac:grpSpMkLst>
        </pc:grpChg>
        <pc:picChg chg="add del mod">
          <ac:chgData name="Rikke Bækgaard Christensen" userId="895b20d1-8a83-4427-801b-a124aada3673" providerId="ADAL" clId="{FA393C0D-DE56-452F-BBA7-E7A7562803E4}" dt="2024-11-25T09:20:43.790" v="1564" actId="478"/>
          <ac:picMkLst>
            <pc:docMk/>
            <pc:sldMk cId="1628057314" sldId="2147483647"/>
            <ac:picMk id="3" creationId="{07FD9E4C-5400-6224-06F4-CAECC54102CF}"/>
          </ac:picMkLst>
        </pc:picChg>
        <pc:picChg chg="add del mod">
          <ac:chgData name="Rikke Bækgaard Christensen" userId="895b20d1-8a83-4427-801b-a124aada3673" providerId="ADAL" clId="{FA393C0D-DE56-452F-BBA7-E7A7562803E4}" dt="2024-11-25T09:23:03.937" v="1587" actId="21"/>
          <ac:picMkLst>
            <pc:docMk/>
            <pc:sldMk cId="1628057314" sldId="2147483647"/>
            <ac:picMk id="5" creationId="{6870A8E3-1C35-4367-785A-DD6238A49226}"/>
          </ac:picMkLst>
        </pc:picChg>
        <pc:picChg chg="add mod modCrop">
          <ac:chgData name="Rikke Bækgaard Christensen" userId="895b20d1-8a83-4427-801b-a124aada3673" providerId="ADAL" clId="{FA393C0D-DE56-452F-BBA7-E7A7562803E4}" dt="2024-11-25T09:42:09.292" v="1698" actId="1076"/>
          <ac:picMkLst>
            <pc:docMk/>
            <pc:sldMk cId="1628057314" sldId="2147483647"/>
            <ac:picMk id="8" creationId="{C488A082-1695-EA84-63D2-C6284088E31A}"/>
          </ac:picMkLst>
        </pc:picChg>
        <pc:picChg chg="add mod">
          <ac:chgData name="Rikke Bækgaard Christensen" userId="895b20d1-8a83-4427-801b-a124aada3673" providerId="ADAL" clId="{FA393C0D-DE56-452F-BBA7-E7A7562803E4}" dt="2024-11-25T09:42:07.259" v="1697" actId="1076"/>
          <ac:picMkLst>
            <pc:docMk/>
            <pc:sldMk cId="1628057314" sldId="2147483647"/>
            <ac:picMk id="12" creationId="{BB7B543D-286F-F710-3D4D-93125DF7D4F8}"/>
          </ac:picMkLst>
        </pc:picChg>
      </pc:sldChg>
      <pc:sldMasterChg chg="delSldLayout">
        <pc:chgData name="Rikke Bækgaard Christensen" userId="895b20d1-8a83-4427-801b-a124aada3673" providerId="ADAL" clId="{FA393C0D-DE56-452F-BBA7-E7A7562803E4}" dt="2024-11-12T19:36:27.105" v="515" actId="47"/>
        <pc:sldMasterMkLst>
          <pc:docMk/>
          <pc:sldMasterMk cId="0" sldId="2147483648"/>
        </pc:sldMasterMkLst>
        <pc:sldLayoutChg chg="del">
          <pc:chgData name="Rikke Bækgaard Christensen" userId="895b20d1-8a83-4427-801b-a124aada3673" providerId="ADAL" clId="{FA393C0D-DE56-452F-BBA7-E7A7562803E4}" dt="2024-11-12T19:36:27.105" v="515" actId="47"/>
          <pc:sldLayoutMkLst>
            <pc:docMk/>
            <pc:sldMasterMk cId="0" sldId="2147483648"/>
            <pc:sldLayoutMk cId="2699523912" sldId="2147483663"/>
          </pc:sldLayoutMkLst>
        </pc:sldLayoutChg>
      </pc:sldMasterChg>
    </pc:docChg>
  </pc:docChgLst>
  <pc:docChgLst>
    <pc:chgData name="Gæstebruger" userId="S::urn:spo:anon#b950ea12af07c0b1779e38ed72fb97593ad0bfbb63b20add32aeba76c333e836::" providerId="AD" clId="Web-{BA17515F-FFED-2D91-5ACE-423E6A6F481B}"/>
    <pc:docChg chg="modSld">
      <pc:chgData name="Gæstebruger" userId="S::urn:spo:anon#b950ea12af07c0b1779e38ed72fb97593ad0bfbb63b20add32aeba76c333e836::" providerId="AD" clId="Web-{BA17515F-FFED-2D91-5ACE-423E6A6F481B}" dt="2024-11-25T18:58:29.609" v="1" actId="1076"/>
      <pc:docMkLst>
        <pc:docMk/>
      </pc:docMkLst>
      <pc:sldChg chg="modSp">
        <pc:chgData name="Gæstebruger" userId="S::urn:spo:anon#b950ea12af07c0b1779e38ed72fb97593ad0bfbb63b20add32aeba76c333e836::" providerId="AD" clId="Web-{BA17515F-FFED-2D91-5ACE-423E6A6F481B}" dt="2024-11-25T18:58:29.609" v="1" actId="1076"/>
        <pc:sldMkLst>
          <pc:docMk/>
          <pc:sldMk cId="2994960016" sldId="266"/>
        </pc:sldMkLst>
        <pc:spChg chg="mod">
          <ac:chgData name="Gæstebruger" userId="S::urn:spo:anon#b950ea12af07c0b1779e38ed72fb97593ad0bfbb63b20add32aeba76c333e836::" providerId="AD" clId="Web-{BA17515F-FFED-2D91-5ACE-423E6A6F481B}" dt="2024-11-25T18:58:29.609" v="1" actId="1076"/>
          <ac:spMkLst>
            <pc:docMk/>
            <pc:sldMk cId="2994960016" sldId="266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aarhuskommune.sharepoint.com/Sites/afd-afdsite3229/Delte%20dokumenter/Udvikling%20og%20Demokrati/Den%20Digitale%20Hotline/DDH%20Projektledelse%20og%20organisation/DDH%20Chatbot/2.%20Data/OKR%20202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DDH Chatbot samtaler / total DDH samtaler</a:t>
            </a:r>
            <a:r>
              <a:rPr lang="da-DK" baseline="0"/>
              <a:t> (%) korrekt</a:t>
            </a:r>
            <a:endParaRPr lang="da-DK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0737026975939029E-2"/>
          <c:y val="2.6279961368177236E-2"/>
          <c:w val="0.94241135404226006"/>
          <c:h val="0.82510654151298657"/>
        </c:manualLayout>
      </c:layout>
      <c:lineChart>
        <c:grouping val="standard"/>
        <c:varyColors val="0"/>
        <c:ser>
          <c:idx val="0"/>
          <c:order val="0"/>
          <c:tx>
            <c:strRef>
              <c:f>'[OKR 2024.xlsx]Total'!$A$42</c:f>
              <c:strCache>
                <c:ptCount val="1"/>
                <c:pt idx="0">
                  <c:v>Månedlig andel (korrekt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OKR 2024.xlsx]Total'!$C$1:$N$1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ts</c:v>
                </c:pt>
                <c:pt idx="3">
                  <c:v>April</c:v>
                </c:pt>
                <c:pt idx="4">
                  <c:v>Maj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'[OKR 2024.xlsx]Total'!$C$42:$L$42</c:f>
              <c:numCache>
                <c:formatCode>0%</c:formatCode>
                <c:ptCount val="10"/>
                <c:pt idx="0">
                  <c:v>0.25509603737670877</c:v>
                </c:pt>
                <c:pt idx="1">
                  <c:v>0.25937363899117077</c:v>
                </c:pt>
                <c:pt idx="2">
                  <c:v>0.28454644808743168</c:v>
                </c:pt>
                <c:pt idx="3">
                  <c:v>0.27814668357830336</c:v>
                </c:pt>
                <c:pt idx="4">
                  <c:v>0.33334599316369162</c:v>
                </c:pt>
                <c:pt idx="5">
                  <c:v>0.31987565101538212</c:v>
                </c:pt>
                <c:pt idx="6">
                  <c:v>0.25553120218353254</c:v>
                </c:pt>
                <c:pt idx="7">
                  <c:v>0.30242999305716267</c:v>
                </c:pt>
                <c:pt idx="8">
                  <c:v>0.32782035114948105</c:v>
                </c:pt>
                <c:pt idx="9">
                  <c:v>0.29163563072339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84-4117-942A-8023D53B2B3A}"/>
            </c:ext>
          </c:extLst>
        </c:ser>
        <c:ser>
          <c:idx val="1"/>
          <c:order val="1"/>
          <c:tx>
            <c:v>Gennemsnit</c:v>
          </c:tx>
          <c:spPr>
            <a:ln w="2857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84-4117-942A-8023D53B2B3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84-4117-942A-8023D53B2B3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84-4117-942A-8023D53B2B3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84-4117-942A-8023D53B2B3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84-4117-942A-8023D53B2B3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784-4117-942A-8023D53B2B3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784-4117-942A-8023D53B2B3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784-4117-942A-8023D53B2B3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784-4117-942A-8023D53B2B3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784-4117-942A-8023D53B2B3A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784-4117-942A-8023D53B2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OKR 2024.xlsx]Total'!$C$43:$N$43</c:f>
              <c:numCache>
                <c:formatCode>0%</c:formatCode>
                <c:ptCount val="12"/>
                <c:pt idx="0">
                  <c:v>0.28962684152539941</c:v>
                </c:pt>
                <c:pt idx="1">
                  <c:v>0.28962684152539941</c:v>
                </c:pt>
                <c:pt idx="2">
                  <c:v>0.28962684152539941</c:v>
                </c:pt>
                <c:pt idx="3">
                  <c:v>0.28962684152539941</c:v>
                </c:pt>
                <c:pt idx="4">
                  <c:v>0.28962684152539941</c:v>
                </c:pt>
                <c:pt idx="5">
                  <c:v>0.28962684152539941</c:v>
                </c:pt>
                <c:pt idx="6">
                  <c:v>0.28962684152539941</c:v>
                </c:pt>
                <c:pt idx="7">
                  <c:v>0.28962684152539941</c:v>
                </c:pt>
                <c:pt idx="8">
                  <c:v>0.28962684152539941</c:v>
                </c:pt>
                <c:pt idx="9">
                  <c:v>0.28962684152539941</c:v>
                </c:pt>
                <c:pt idx="10">
                  <c:v>0.28962684152539941</c:v>
                </c:pt>
                <c:pt idx="11">
                  <c:v>0.28962684152539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784-4117-942A-8023D53B2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7551320"/>
        <c:axId val="817551648"/>
      </c:lineChart>
      <c:catAx>
        <c:axId val="81755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7551648"/>
        <c:crosses val="autoZero"/>
        <c:auto val="1"/>
        <c:lblAlgn val="ctr"/>
        <c:lblOffset val="100"/>
        <c:noMultiLvlLbl val="0"/>
      </c:catAx>
      <c:valAx>
        <c:axId val="817551648"/>
        <c:scaling>
          <c:orientation val="minMax"/>
          <c:max val="0.35000000000000003"/>
          <c:min val="0.22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7551320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svg"/><Relationship Id="rId1" Type="http://schemas.openxmlformats.org/officeDocument/2006/relationships/image" Target="../media/image27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svg"/><Relationship Id="rId1" Type="http://schemas.openxmlformats.org/officeDocument/2006/relationships/image" Target="../media/image27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E895B7-0613-429B-855F-3914C0654CA1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FEEF420-FE0D-4ADB-9DC2-1778C8C9AEF0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tyregruppemøde </a:t>
          </a:r>
          <a:r>
            <a:rPr lang="da-DK" b="1"/>
            <a:t>16.08.2023</a:t>
          </a:r>
          <a:endParaRPr lang="en-US"/>
        </a:p>
      </dgm:t>
    </dgm:pt>
    <dgm:pt modelId="{B64FE9F5-9C6C-41C6-AC1D-C3CFFDB67216}" type="parTrans" cxnId="{0032365A-1797-43ED-AF6D-837F26468429}">
      <dgm:prSet/>
      <dgm:spPr/>
      <dgm:t>
        <a:bodyPr/>
        <a:lstStyle/>
        <a:p>
          <a:endParaRPr lang="en-US"/>
        </a:p>
      </dgm:t>
    </dgm:pt>
    <dgm:pt modelId="{64B81373-38EF-4D10-8F1C-D5D6CF4B934B}" type="sibTrans" cxnId="{0032365A-1797-43ED-AF6D-837F26468429}">
      <dgm:prSet/>
      <dgm:spPr/>
      <dgm:t>
        <a:bodyPr/>
        <a:lstStyle/>
        <a:p>
          <a:endParaRPr lang="en-US"/>
        </a:p>
      </dgm:t>
    </dgm:pt>
    <dgm:pt modelId="{440DD996-FE27-45EB-8D6D-EBEF3FD2DC25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- Beslutning om at lave indstilling til repræsentantskabet på e-mail om at gå i udbud (notat)</a:t>
          </a:r>
          <a:endParaRPr lang="en-US"/>
        </a:p>
      </dgm:t>
    </dgm:pt>
    <dgm:pt modelId="{09C80B0B-6928-4EB2-9C40-AE22EB2E015D}" type="parTrans" cxnId="{710F7B93-610B-447A-945C-97BB19246D96}">
      <dgm:prSet/>
      <dgm:spPr/>
      <dgm:t>
        <a:bodyPr/>
        <a:lstStyle/>
        <a:p>
          <a:endParaRPr lang="en-US"/>
        </a:p>
      </dgm:t>
    </dgm:pt>
    <dgm:pt modelId="{71371BC2-1361-4343-9876-56B832541BAD}" type="sibTrans" cxnId="{710F7B93-610B-447A-945C-97BB19246D96}">
      <dgm:prSet/>
      <dgm:spPr/>
      <dgm:t>
        <a:bodyPr/>
        <a:lstStyle/>
        <a:p>
          <a:endParaRPr lang="en-US"/>
        </a:p>
      </dgm:t>
    </dgm:pt>
    <dgm:pt modelId="{6E144B73-4863-415A-BA51-73A9509B2812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tyregruppe e-mail til DDH repræsentantskab den </a:t>
          </a:r>
          <a:r>
            <a:rPr lang="da-DK" b="1"/>
            <a:t>24.08.2023</a:t>
          </a:r>
          <a:r>
            <a:rPr lang="da-DK"/>
            <a:t> </a:t>
          </a:r>
          <a:endParaRPr lang="en-US"/>
        </a:p>
      </dgm:t>
    </dgm:pt>
    <dgm:pt modelId="{3031A6F7-49A3-4106-A4FF-B3B9453605B8}" type="parTrans" cxnId="{2CF863D4-9751-4EA6-B35A-EB4CA0FFAD9E}">
      <dgm:prSet/>
      <dgm:spPr/>
      <dgm:t>
        <a:bodyPr/>
        <a:lstStyle/>
        <a:p>
          <a:endParaRPr lang="en-US"/>
        </a:p>
      </dgm:t>
    </dgm:pt>
    <dgm:pt modelId="{FB462A46-8BFB-47ED-95F9-71174A45730D}" type="sibTrans" cxnId="{2CF863D4-9751-4EA6-B35A-EB4CA0FFAD9E}">
      <dgm:prSet/>
      <dgm:spPr/>
      <dgm:t>
        <a:bodyPr/>
        <a:lstStyle/>
        <a:p>
          <a:endParaRPr lang="en-US"/>
        </a:p>
      </dgm:t>
    </dgm:pt>
    <dgm:pt modelId="{F8618A7C-1C3B-41D1-AA4E-CF67928305B8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pørgetime DDH repræsentantskab om udbud </a:t>
          </a:r>
          <a:r>
            <a:rPr lang="da-DK" b="1"/>
            <a:t>12./14.09.2023</a:t>
          </a:r>
          <a:endParaRPr lang="en-US"/>
        </a:p>
      </dgm:t>
    </dgm:pt>
    <dgm:pt modelId="{9357E7C0-7C4A-48B5-A21A-315F66D6A059}" type="parTrans" cxnId="{199A9F57-711A-403C-A4D5-169FF5614E23}">
      <dgm:prSet/>
      <dgm:spPr/>
      <dgm:t>
        <a:bodyPr/>
        <a:lstStyle/>
        <a:p>
          <a:endParaRPr lang="en-US"/>
        </a:p>
      </dgm:t>
    </dgm:pt>
    <dgm:pt modelId="{1682DBE8-C3B8-425C-8C3B-32F2E6E487F0}" type="sibTrans" cxnId="{199A9F57-711A-403C-A4D5-169FF5614E23}">
      <dgm:prSet/>
      <dgm:spPr/>
      <dgm:t>
        <a:bodyPr/>
        <a:lstStyle/>
        <a:p>
          <a:endParaRPr lang="en-US"/>
        </a:p>
      </dgm:t>
    </dgm:pt>
    <dgm:pt modelId="{CB83ACE3-A400-460F-B211-FC337DF02AB2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Godkendelse af DDH. Rep. af at gå i udbud </a:t>
          </a:r>
          <a:r>
            <a:rPr lang="da-DK" b="1"/>
            <a:t>22.09.2023 (e-mail)</a:t>
          </a:r>
          <a:endParaRPr lang="en-US"/>
        </a:p>
      </dgm:t>
    </dgm:pt>
    <dgm:pt modelId="{D7B277B1-E62E-4142-A611-7963E7151BAF}" type="parTrans" cxnId="{F7E1F116-C583-47E1-B8C4-0A1050FC7921}">
      <dgm:prSet/>
      <dgm:spPr/>
      <dgm:t>
        <a:bodyPr/>
        <a:lstStyle/>
        <a:p>
          <a:endParaRPr lang="en-US"/>
        </a:p>
      </dgm:t>
    </dgm:pt>
    <dgm:pt modelId="{04043F8F-32F3-4F1E-8847-8A2F9DCE6789}" type="sibTrans" cxnId="{F7E1F116-C583-47E1-B8C4-0A1050FC7921}">
      <dgm:prSet/>
      <dgm:spPr/>
      <dgm:t>
        <a:bodyPr/>
        <a:lstStyle/>
        <a:p>
          <a:endParaRPr lang="en-US"/>
        </a:p>
      </dgm:t>
    </dgm:pt>
    <dgm:pt modelId="{9A72D098-7684-47C6-B685-42F011B9B21D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Repræsentantskabsmødet den </a:t>
          </a:r>
          <a:r>
            <a:rPr lang="da-DK" b="1"/>
            <a:t>31.10.2023</a:t>
          </a:r>
          <a:endParaRPr lang="en-US"/>
        </a:p>
      </dgm:t>
    </dgm:pt>
    <dgm:pt modelId="{F4DDFF76-8407-40B5-8F18-B3A630E7A916}" type="parTrans" cxnId="{FDD32ABC-F465-460F-9E61-591DBCDE7D16}">
      <dgm:prSet/>
      <dgm:spPr/>
      <dgm:t>
        <a:bodyPr/>
        <a:lstStyle/>
        <a:p>
          <a:endParaRPr lang="en-US"/>
        </a:p>
      </dgm:t>
    </dgm:pt>
    <dgm:pt modelId="{C76E3FD0-6028-482F-A117-5D6784D1AA8E}" type="sibTrans" cxnId="{FDD32ABC-F465-460F-9E61-591DBCDE7D16}">
      <dgm:prSet/>
      <dgm:spPr/>
      <dgm:t>
        <a:bodyPr/>
        <a:lstStyle/>
        <a:p>
          <a:endParaRPr lang="en-US"/>
        </a:p>
      </dgm:t>
    </dgm:pt>
    <dgm:pt modelId="{4A5746D2-99EA-43AD-9CCB-FB99074EA0B0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Præsentation af tidsplan</a:t>
          </a:r>
          <a:endParaRPr lang="en-US"/>
        </a:p>
      </dgm:t>
    </dgm:pt>
    <dgm:pt modelId="{9705DD8D-5D54-4F0A-9097-105C01D0DFE1}" type="parTrans" cxnId="{B22E343F-5E35-45E4-ABE9-878D621295F6}">
      <dgm:prSet/>
      <dgm:spPr/>
      <dgm:t>
        <a:bodyPr/>
        <a:lstStyle/>
        <a:p>
          <a:endParaRPr lang="en-US"/>
        </a:p>
      </dgm:t>
    </dgm:pt>
    <dgm:pt modelId="{30F2EF70-1420-461D-AA16-56DE35F9D827}" type="sibTrans" cxnId="{B22E343F-5E35-45E4-ABE9-878D621295F6}">
      <dgm:prSet/>
      <dgm:spPr/>
      <dgm:t>
        <a:bodyPr/>
        <a:lstStyle/>
        <a:p>
          <a:endParaRPr lang="en-US"/>
        </a:p>
      </dgm:t>
    </dgm:pt>
    <dgm:pt modelId="{9AE6417D-BD76-4E30-B2AC-08B533B825FF}" type="pres">
      <dgm:prSet presAssocID="{79E895B7-0613-429B-855F-3914C0654CA1}" presName="root" presStyleCnt="0">
        <dgm:presLayoutVars>
          <dgm:dir/>
          <dgm:resizeHandles val="exact"/>
        </dgm:presLayoutVars>
      </dgm:prSet>
      <dgm:spPr/>
    </dgm:pt>
    <dgm:pt modelId="{7ADDA475-EF6D-46B4-A9F5-BEEC4B9B02B9}" type="pres">
      <dgm:prSet presAssocID="{8FEEF420-FE0D-4ADB-9DC2-1778C8C9AEF0}" presName="compNode" presStyleCnt="0"/>
      <dgm:spPr/>
    </dgm:pt>
    <dgm:pt modelId="{3000A62F-2B5A-4B4C-BA4C-25C16196C131}" type="pres">
      <dgm:prSet presAssocID="{8FEEF420-FE0D-4ADB-9DC2-1778C8C9AEF0}" presName="bgRect" presStyleLbl="bgShp" presStyleIdx="0" presStyleCnt="5"/>
      <dgm:spPr/>
    </dgm:pt>
    <dgm:pt modelId="{1D872167-D744-4D11-9133-3C5CACC7E6E8}" type="pres">
      <dgm:prSet presAssocID="{8FEEF420-FE0D-4ADB-9DC2-1778C8C9AEF0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fkrydsning"/>
        </a:ext>
      </dgm:extLst>
    </dgm:pt>
    <dgm:pt modelId="{EA8F5CCE-3EFD-4B2C-97AB-B391207A05FF}" type="pres">
      <dgm:prSet presAssocID="{8FEEF420-FE0D-4ADB-9DC2-1778C8C9AEF0}" presName="spaceRect" presStyleCnt="0"/>
      <dgm:spPr/>
    </dgm:pt>
    <dgm:pt modelId="{F839A779-E0F6-47B0-9EE4-893C454A2744}" type="pres">
      <dgm:prSet presAssocID="{8FEEF420-FE0D-4ADB-9DC2-1778C8C9AEF0}" presName="parTx" presStyleLbl="revTx" presStyleIdx="0" presStyleCnt="7">
        <dgm:presLayoutVars>
          <dgm:chMax val="0"/>
          <dgm:chPref val="0"/>
        </dgm:presLayoutVars>
      </dgm:prSet>
      <dgm:spPr/>
    </dgm:pt>
    <dgm:pt modelId="{72980AFE-DC4D-45E4-A59F-248E94541C9D}" type="pres">
      <dgm:prSet presAssocID="{8FEEF420-FE0D-4ADB-9DC2-1778C8C9AEF0}" presName="desTx" presStyleLbl="revTx" presStyleIdx="1" presStyleCnt="7">
        <dgm:presLayoutVars/>
      </dgm:prSet>
      <dgm:spPr/>
    </dgm:pt>
    <dgm:pt modelId="{EC7E7C85-F23B-4FCF-A949-38F9E4EFC6EF}" type="pres">
      <dgm:prSet presAssocID="{64B81373-38EF-4D10-8F1C-D5D6CF4B934B}" presName="sibTrans" presStyleCnt="0"/>
      <dgm:spPr/>
    </dgm:pt>
    <dgm:pt modelId="{9443AE9E-0D91-4607-8775-599B17CCD88E}" type="pres">
      <dgm:prSet presAssocID="{6E144B73-4863-415A-BA51-73A9509B2812}" presName="compNode" presStyleCnt="0"/>
      <dgm:spPr/>
    </dgm:pt>
    <dgm:pt modelId="{6C320904-50A2-4EC4-93DD-8E2311451E2A}" type="pres">
      <dgm:prSet presAssocID="{6E144B73-4863-415A-BA51-73A9509B2812}" presName="bgRect" presStyleLbl="bgShp" presStyleIdx="1" presStyleCnt="5"/>
      <dgm:spPr/>
    </dgm:pt>
    <dgm:pt modelId="{512EF725-3F35-4528-A1F6-F584DAD94D30}" type="pres">
      <dgm:prSet presAssocID="{6E144B73-4863-415A-BA51-73A9509B2812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il"/>
        </a:ext>
      </dgm:extLst>
    </dgm:pt>
    <dgm:pt modelId="{26D7B5DB-3960-459E-9EB6-028F440582A9}" type="pres">
      <dgm:prSet presAssocID="{6E144B73-4863-415A-BA51-73A9509B2812}" presName="spaceRect" presStyleCnt="0"/>
      <dgm:spPr/>
    </dgm:pt>
    <dgm:pt modelId="{D1E7B9C1-BB69-463A-BA03-627ABDBF787E}" type="pres">
      <dgm:prSet presAssocID="{6E144B73-4863-415A-BA51-73A9509B2812}" presName="parTx" presStyleLbl="revTx" presStyleIdx="2" presStyleCnt="7">
        <dgm:presLayoutVars>
          <dgm:chMax val="0"/>
          <dgm:chPref val="0"/>
        </dgm:presLayoutVars>
      </dgm:prSet>
      <dgm:spPr/>
    </dgm:pt>
    <dgm:pt modelId="{4FC06EC0-DC21-4921-ADC4-082F9A06C532}" type="pres">
      <dgm:prSet presAssocID="{FB462A46-8BFB-47ED-95F9-71174A45730D}" presName="sibTrans" presStyleCnt="0"/>
      <dgm:spPr/>
    </dgm:pt>
    <dgm:pt modelId="{C7428E91-BEB8-4E2E-81BB-ABCC2868AE35}" type="pres">
      <dgm:prSet presAssocID="{F8618A7C-1C3B-41D1-AA4E-CF67928305B8}" presName="compNode" presStyleCnt="0"/>
      <dgm:spPr/>
    </dgm:pt>
    <dgm:pt modelId="{3569BB8B-7094-4224-81B2-3A7BB4E18D81}" type="pres">
      <dgm:prSet presAssocID="{F8618A7C-1C3B-41D1-AA4E-CF67928305B8}" presName="bgRect" presStyleLbl="bgShp" presStyleIdx="2" presStyleCnt="5"/>
      <dgm:spPr/>
    </dgm:pt>
    <dgm:pt modelId="{31BF2D5B-6E9E-474B-84F6-9DE73A59152A}" type="pres">
      <dgm:prSet presAssocID="{F8618A7C-1C3B-41D1-AA4E-CF67928305B8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nabata Tree"/>
        </a:ext>
      </dgm:extLst>
    </dgm:pt>
    <dgm:pt modelId="{02F98B64-D05C-4BB2-8A08-50631F6B712C}" type="pres">
      <dgm:prSet presAssocID="{F8618A7C-1C3B-41D1-AA4E-CF67928305B8}" presName="spaceRect" presStyleCnt="0"/>
      <dgm:spPr/>
    </dgm:pt>
    <dgm:pt modelId="{B07CDF17-BEFC-42E2-B7F5-DE6312345000}" type="pres">
      <dgm:prSet presAssocID="{F8618A7C-1C3B-41D1-AA4E-CF67928305B8}" presName="parTx" presStyleLbl="revTx" presStyleIdx="3" presStyleCnt="7">
        <dgm:presLayoutVars>
          <dgm:chMax val="0"/>
          <dgm:chPref val="0"/>
        </dgm:presLayoutVars>
      </dgm:prSet>
      <dgm:spPr/>
    </dgm:pt>
    <dgm:pt modelId="{4530DBE6-62CA-4F4E-9B43-9A2764F70AF7}" type="pres">
      <dgm:prSet presAssocID="{1682DBE8-C3B8-425C-8C3B-32F2E6E487F0}" presName="sibTrans" presStyleCnt="0"/>
      <dgm:spPr/>
    </dgm:pt>
    <dgm:pt modelId="{C33EABD0-F942-4BB6-885F-E79801FBB8AA}" type="pres">
      <dgm:prSet presAssocID="{CB83ACE3-A400-460F-B211-FC337DF02AB2}" presName="compNode" presStyleCnt="0"/>
      <dgm:spPr/>
    </dgm:pt>
    <dgm:pt modelId="{38F7D114-5B18-48B3-9704-04F4A446138B}" type="pres">
      <dgm:prSet presAssocID="{CB83ACE3-A400-460F-B211-FC337DF02AB2}" presName="bgRect" presStyleLbl="bgShp" presStyleIdx="3" presStyleCnt="5"/>
      <dgm:spPr/>
    </dgm:pt>
    <dgm:pt modelId="{C04678E0-1C2E-44E1-A860-B5F81BCB0834}" type="pres">
      <dgm:prSet presAssocID="{CB83ACE3-A400-460F-B211-FC337DF02AB2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end"/>
        </a:ext>
      </dgm:extLst>
    </dgm:pt>
    <dgm:pt modelId="{9128FA8C-B584-4324-81D7-D891A742DE29}" type="pres">
      <dgm:prSet presAssocID="{CB83ACE3-A400-460F-B211-FC337DF02AB2}" presName="spaceRect" presStyleCnt="0"/>
      <dgm:spPr/>
    </dgm:pt>
    <dgm:pt modelId="{41565F58-8283-419E-8A47-3AC885B7415F}" type="pres">
      <dgm:prSet presAssocID="{CB83ACE3-A400-460F-B211-FC337DF02AB2}" presName="parTx" presStyleLbl="revTx" presStyleIdx="4" presStyleCnt="7">
        <dgm:presLayoutVars>
          <dgm:chMax val="0"/>
          <dgm:chPref val="0"/>
        </dgm:presLayoutVars>
      </dgm:prSet>
      <dgm:spPr/>
    </dgm:pt>
    <dgm:pt modelId="{17D13DDA-BA03-4114-A63D-DD32EC2C7199}" type="pres">
      <dgm:prSet presAssocID="{04043F8F-32F3-4F1E-8847-8A2F9DCE6789}" presName="sibTrans" presStyleCnt="0"/>
      <dgm:spPr/>
    </dgm:pt>
    <dgm:pt modelId="{D2BF4B18-2C91-4115-83E0-FA9B8BD3BFA8}" type="pres">
      <dgm:prSet presAssocID="{9A72D098-7684-47C6-B685-42F011B9B21D}" presName="compNode" presStyleCnt="0"/>
      <dgm:spPr/>
    </dgm:pt>
    <dgm:pt modelId="{9CA0F1EB-AD24-4752-85F7-B52AACC0BFDE}" type="pres">
      <dgm:prSet presAssocID="{9A72D098-7684-47C6-B685-42F011B9B21D}" presName="bgRect" presStyleLbl="bgShp" presStyleIdx="4" presStyleCnt="5"/>
      <dgm:spPr/>
    </dgm:pt>
    <dgm:pt modelId="{063DCC4F-B522-4AC2-BDF2-C277AF809D08}" type="pres">
      <dgm:prSet presAssocID="{9A72D098-7684-47C6-B685-42F011B9B21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lip Calendar"/>
        </a:ext>
      </dgm:extLst>
    </dgm:pt>
    <dgm:pt modelId="{33216078-9E72-4022-B935-7CF6CD2E3A93}" type="pres">
      <dgm:prSet presAssocID="{9A72D098-7684-47C6-B685-42F011B9B21D}" presName="spaceRect" presStyleCnt="0"/>
      <dgm:spPr/>
    </dgm:pt>
    <dgm:pt modelId="{2A765038-9769-47C9-8954-3460CCC728FA}" type="pres">
      <dgm:prSet presAssocID="{9A72D098-7684-47C6-B685-42F011B9B21D}" presName="parTx" presStyleLbl="revTx" presStyleIdx="5" presStyleCnt="7">
        <dgm:presLayoutVars>
          <dgm:chMax val="0"/>
          <dgm:chPref val="0"/>
        </dgm:presLayoutVars>
      </dgm:prSet>
      <dgm:spPr/>
    </dgm:pt>
    <dgm:pt modelId="{61CCFD46-38A2-4103-9036-1C3143FFAD16}" type="pres">
      <dgm:prSet presAssocID="{9A72D098-7684-47C6-B685-42F011B9B21D}" presName="desTx" presStyleLbl="revTx" presStyleIdx="6" presStyleCnt="7">
        <dgm:presLayoutVars/>
      </dgm:prSet>
      <dgm:spPr/>
    </dgm:pt>
  </dgm:ptLst>
  <dgm:cxnLst>
    <dgm:cxn modelId="{F7E1F116-C583-47E1-B8C4-0A1050FC7921}" srcId="{79E895B7-0613-429B-855F-3914C0654CA1}" destId="{CB83ACE3-A400-460F-B211-FC337DF02AB2}" srcOrd="3" destOrd="0" parTransId="{D7B277B1-E62E-4142-A611-7963E7151BAF}" sibTransId="{04043F8F-32F3-4F1E-8847-8A2F9DCE6789}"/>
    <dgm:cxn modelId="{5B6C0E2E-CC27-491C-9023-FB42B22B9BFA}" type="presOf" srcId="{8FEEF420-FE0D-4ADB-9DC2-1778C8C9AEF0}" destId="{F839A779-E0F6-47B0-9EE4-893C454A2744}" srcOrd="0" destOrd="0" presId="urn:microsoft.com/office/officeart/2018/2/layout/IconVerticalSolidList"/>
    <dgm:cxn modelId="{B22E343F-5E35-45E4-ABE9-878D621295F6}" srcId="{9A72D098-7684-47C6-B685-42F011B9B21D}" destId="{4A5746D2-99EA-43AD-9CCB-FB99074EA0B0}" srcOrd="0" destOrd="0" parTransId="{9705DD8D-5D54-4F0A-9097-105C01D0DFE1}" sibTransId="{30F2EF70-1420-461D-AA16-56DE35F9D827}"/>
    <dgm:cxn modelId="{33CC334D-EA92-4538-9C63-453F254029C3}" type="presOf" srcId="{9A72D098-7684-47C6-B685-42F011B9B21D}" destId="{2A765038-9769-47C9-8954-3460CCC728FA}" srcOrd="0" destOrd="0" presId="urn:microsoft.com/office/officeart/2018/2/layout/IconVerticalSolidList"/>
    <dgm:cxn modelId="{27802476-4EA0-4BF4-AF83-5DA8EDB8BFD8}" type="presOf" srcId="{CB83ACE3-A400-460F-B211-FC337DF02AB2}" destId="{41565F58-8283-419E-8A47-3AC885B7415F}" srcOrd="0" destOrd="0" presId="urn:microsoft.com/office/officeart/2018/2/layout/IconVerticalSolidList"/>
    <dgm:cxn modelId="{199A9F57-711A-403C-A4D5-169FF5614E23}" srcId="{79E895B7-0613-429B-855F-3914C0654CA1}" destId="{F8618A7C-1C3B-41D1-AA4E-CF67928305B8}" srcOrd="2" destOrd="0" parTransId="{9357E7C0-7C4A-48B5-A21A-315F66D6A059}" sibTransId="{1682DBE8-C3B8-425C-8C3B-32F2E6E487F0}"/>
    <dgm:cxn modelId="{0032365A-1797-43ED-AF6D-837F26468429}" srcId="{79E895B7-0613-429B-855F-3914C0654CA1}" destId="{8FEEF420-FE0D-4ADB-9DC2-1778C8C9AEF0}" srcOrd="0" destOrd="0" parTransId="{B64FE9F5-9C6C-41C6-AC1D-C3CFFDB67216}" sibTransId="{64B81373-38EF-4D10-8F1C-D5D6CF4B934B}"/>
    <dgm:cxn modelId="{508E907F-4DFE-4496-BEF9-E06B9A2D6380}" type="presOf" srcId="{F8618A7C-1C3B-41D1-AA4E-CF67928305B8}" destId="{B07CDF17-BEFC-42E2-B7F5-DE6312345000}" srcOrd="0" destOrd="0" presId="urn:microsoft.com/office/officeart/2018/2/layout/IconVerticalSolidList"/>
    <dgm:cxn modelId="{8DD9628A-889A-4CB4-BAA3-4832E0CE186F}" type="presOf" srcId="{440DD996-FE27-45EB-8D6D-EBEF3FD2DC25}" destId="{72980AFE-DC4D-45E4-A59F-248E94541C9D}" srcOrd="0" destOrd="0" presId="urn:microsoft.com/office/officeart/2018/2/layout/IconVerticalSolidList"/>
    <dgm:cxn modelId="{F157778A-A525-425A-BB39-EB2E72AC86EB}" type="presOf" srcId="{79E895B7-0613-429B-855F-3914C0654CA1}" destId="{9AE6417D-BD76-4E30-B2AC-08B533B825FF}" srcOrd="0" destOrd="0" presId="urn:microsoft.com/office/officeart/2018/2/layout/IconVerticalSolidList"/>
    <dgm:cxn modelId="{710F7B93-610B-447A-945C-97BB19246D96}" srcId="{8FEEF420-FE0D-4ADB-9DC2-1778C8C9AEF0}" destId="{440DD996-FE27-45EB-8D6D-EBEF3FD2DC25}" srcOrd="0" destOrd="0" parTransId="{09C80B0B-6928-4EB2-9C40-AE22EB2E015D}" sibTransId="{71371BC2-1361-4343-9876-56B832541BAD}"/>
    <dgm:cxn modelId="{037B48A8-2AE7-4635-A1AE-94705962515D}" type="presOf" srcId="{6E144B73-4863-415A-BA51-73A9509B2812}" destId="{D1E7B9C1-BB69-463A-BA03-627ABDBF787E}" srcOrd="0" destOrd="0" presId="urn:microsoft.com/office/officeart/2018/2/layout/IconVerticalSolidList"/>
    <dgm:cxn modelId="{FDD32ABC-F465-460F-9E61-591DBCDE7D16}" srcId="{79E895B7-0613-429B-855F-3914C0654CA1}" destId="{9A72D098-7684-47C6-B685-42F011B9B21D}" srcOrd="4" destOrd="0" parTransId="{F4DDFF76-8407-40B5-8F18-B3A630E7A916}" sibTransId="{C76E3FD0-6028-482F-A117-5D6784D1AA8E}"/>
    <dgm:cxn modelId="{2CF863D4-9751-4EA6-B35A-EB4CA0FFAD9E}" srcId="{79E895B7-0613-429B-855F-3914C0654CA1}" destId="{6E144B73-4863-415A-BA51-73A9509B2812}" srcOrd="1" destOrd="0" parTransId="{3031A6F7-49A3-4106-A4FF-B3B9453605B8}" sibTransId="{FB462A46-8BFB-47ED-95F9-71174A45730D}"/>
    <dgm:cxn modelId="{BDB331FC-2208-45AE-8A17-0BC9DD6AAF44}" type="presOf" srcId="{4A5746D2-99EA-43AD-9CCB-FB99074EA0B0}" destId="{61CCFD46-38A2-4103-9036-1C3143FFAD16}" srcOrd="0" destOrd="0" presId="urn:microsoft.com/office/officeart/2018/2/layout/IconVerticalSolidList"/>
    <dgm:cxn modelId="{2FF11CD5-67A6-47B6-9C8F-9AED6C902E13}" type="presParOf" srcId="{9AE6417D-BD76-4E30-B2AC-08B533B825FF}" destId="{7ADDA475-EF6D-46B4-A9F5-BEEC4B9B02B9}" srcOrd="0" destOrd="0" presId="urn:microsoft.com/office/officeart/2018/2/layout/IconVerticalSolidList"/>
    <dgm:cxn modelId="{FCBC2AAC-9EDF-46E6-A08D-2E62DBA8AFAE}" type="presParOf" srcId="{7ADDA475-EF6D-46B4-A9F5-BEEC4B9B02B9}" destId="{3000A62F-2B5A-4B4C-BA4C-25C16196C131}" srcOrd="0" destOrd="0" presId="urn:microsoft.com/office/officeart/2018/2/layout/IconVerticalSolidList"/>
    <dgm:cxn modelId="{B85B620E-9B67-45CD-9E64-4E142A3D5490}" type="presParOf" srcId="{7ADDA475-EF6D-46B4-A9F5-BEEC4B9B02B9}" destId="{1D872167-D744-4D11-9133-3C5CACC7E6E8}" srcOrd="1" destOrd="0" presId="urn:microsoft.com/office/officeart/2018/2/layout/IconVerticalSolidList"/>
    <dgm:cxn modelId="{8385AC15-4CA7-490F-8A78-712C920AFAD8}" type="presParOf" srcId="{7ADDA475-EF6D-46B4-A9F5-BEEC4B9B02B9}" destId="{EA8F5CCE-3EFD-4B2C-97AB-B391207A05FF}" srcOrd="2" destOrd="0" presId="urn:microsoft.com/office/officeart/2018/2/layout/IconVerticalSolidList"/>
    <dgm:cxn modelId="{5A9399CB-F604-424C-BEFB-C5706750F8E3}" type="presParOf" srcId="{7ADDA475-EF6D-46B4-A9F5-BEEC4B9B02B9}" destId="{F839A779-E0F6-47B0-9EE4-893C454A2744}" srcOrd="3" destOrd="0" presId="urn:microsoft.com/office/officeart/2018/2/layout/IconVerticalSolidList"/>
    <dgm:cxn modelId="{25DC6077-BEE4-414A-A886-516AC63E56B9}" type="presParOf" srcId="{7ADDA475-EF6D-46B4-A9F5-BEEC4B9B02B9}" destId="{72980AFE-DC4D-45E4-A59F-248E94541C9D}" srcOrd="4" destOrd="0" presId="urn:microsoft.com/office/officeart/2018/2/layout/IconVerticalSolidList"/>
    <dgm:cxn modelId="{1665D95F-ACB9-468E-A9B2-942E2252455D}" type="presParOf" srcId="{9AE6417D-BD76-4E30-B2AC-08B533B825FF}" destId="{EC7E7C85-F23B-4FCF-A949-38F9E4EFC6EF}" srcOrd="1" destOrd="0" presId="urn:microsoft.com/office/officeart/2018/2/layout/IconVerticalSolidList"/>
    <dgm:cxn modelId="{B7BBC028-EF6D-4376-84AF-CAF225C234E1}" type="presParOf" srcId="{9AE6417D-BD76-4E30-B2AC-08B533B825FF}" destId="{9443AE9E-0D91-4607-8775-599B17CCD88E}" srcOrd="2" destOrd="0" presId="urn:microsoft.com/office/officeart/2018/2/layout/IconVerticalSolidList"/>
    <dgm:cxn modelId="{8A276594-F554-46ED-8F38-58906EFAE111}" type="presParOf" srcId="{9443AE9E-0D91-4607-8775-599B17CCD88E}" destId="{6C320904-50A2-4EC4-93DD-8E2311451E2A}" srcOrd="0" destOrd="0" presId="urn:microsoft.com/office/officeart/2018/2/layout/IconVerticalSolidList"/>
    <dgm:cxn modelId="{36DF6380-0325-4CF1-B83F-D58A82A10650}" type="presParOf" srcId="{9443AE9E-0D91-4607-8775-599B17CCD88E}" destId="{512EF725-3F35-4528-A1F6-F584DAD94D30}" srcOrd="1" destOrd="0" presId="urn:microsoft.com/office/officeart/2018/2/layout/IconVerticalSolidList"/>
    <dgm:cxn modelId="{2622478E-A941-4D2E-B6F3-8A61CA842D79}" type="presParOf" srcId="{9443AE9E-0D91-4607-8775-599B17CCD88E}" destId="{26D7B5DB-3960-459E-9EB6-028F440582A9}" srcOrd="2" destOrd="0" presId="urn:microsoft.com/office/officeart/2018/2/layout/IconVerticalSolidList"/>
    <dgm:cxn modelId="{FC10801E-61F9-49E9-AB98-79F82F7B2EEB}" type="presParOf" srcId="{9443AE9E-0D91-4607-8775-599B17CCD88E}" destId="{D1E7B9C1-BB69-463A-BA03-627ABDBF787E}" srcOrd="3" destOrd="0" presId="urn:microsoft.com/office/officeart/2018/2/layout/IconVerticalSolidList"/>
    <dgm:cxn modelId="{AA72E394-9BEF-4496-8D3A-A75C219167F6}" type="presParOf" srcId="{9AE6417D-BD76-4E30-B2AC-08B533B825FF}" destId="{4FC06EC0-DC21-4921-ADC4-082F9A06C532}" srcOrd="3" destOrd="0" presId="urn:microsoft.com/office/officeart/2018/2/layout/IconVerticalSolidList"/>
    <dgm:cxn modelId="{6775677F-BBF1-455A-BD94-125BB921C195}" type="presParOf" srcId="{9AE6417D-BD76-4E30-B2AC-08B533B825FF}" destId="{C7428E91-BEB8-4E2E-81BB-ABCC2868AE35}" srcOrd="4" destOrd="0" presId="urn:microsoft.com/office/officeart/2018/2/layout/IconVerticalSolidList"/>
    <dgm:cxn modelId="{99BA1947-A58E-4E4B-A860-57EAD0B3DD09}" type="presParOf" srcId="{C7428E91-BEB8-4E2E-81BB-ABCC2868AE35}" destId="{3569BB8B-7094-4224-81B2-3A7BB4E18D81}" srcOrd="0" destOrd="0" presId="urn:microsoft.com/office/officeart/2018/2/layout/IconVerticalSolidList"/>
    <dgm:cxn modelId="{DF03D198-C808-4217-8286-83BA27848B97}" type="presParOf" srcId="{C7428E91-BEB8-4E2E-81BB-ABCC2868AE35}" destId="{31BF2D5B-6E9E-474B-84F6-9DE73A59152A}" srcOrd="1" destOrd="0" presId="urn:microsoft.com/office/officeart/2018/2/layout/IconVerticalSolidList"/>
    <dgm:cxn modelId="{EB3881AC-82CD-4E9B-ABFF-88282F0675A6}" type="presParOf" srcId="{C7428E91-BEB8-4E2E-81BB-ABCC2868AE35}" destId="{02F98B64-D05C-4BB2-8A08-50631F6B712C}" srcOrd="2" destOrd="0" presId="urn:microsoft.com/office/officeart/2018/2/layout/IconVerticalSolidList"/>
    <dgm:cxn modelId="{D5C28DFA-1B76-4E1C-A037-B37D9BD7D16E}" type="presParOf" srcId="{C7428E91-BEB8-4E2E-81BB-ABCC2868AE35}" destId="{B07CDF17-BEFC-42E2-B7F5-DE6312345000}" srcOrd="3" destOrd="0" presId="urn:microsoft.com/office/officeart/2018/2/layout/IconVerticalSolidList"/>
    <dgm:cxn modelId="{3ECC0EB3-19F7-4886-A66B-190339E14215}" type="presParOf" srcId="{9AE6417D-BD76-4E30-B2AC-08B533B825FF}" destId="{4530DBE6-62CA-4F4E-9B43-9A2764F70AF7}" srcOrd="5" destOrd="0" presId="urn:microsoft.com/office/officeart/2018/2/layout/IconVerticalSolidList"/>
    <dgm:cxn modelId="{BCD715AA-A3DC-4F82-8249-DA15D22D3CBF}" type="presParOf" srcId="{9AE6417D-BD76-4E30-B2AC-08B533B825FF}" destId="{C33EABD0-F942-4BB6-885F-E79801FBB8AA}" srcOrd="6" destOrd="0" presId="urn:microsoft.com/office/officeart/2018/2/layout/IconVerticalSolidList"/>
    <dgm:cxn modelId="{64611AFE-1CEB-437D-9CFA-E24C99A94CE8}" type="presParOf" srcId="{C33EABD0-F942-4BB6-885F-E79801FBB8AA}" destId="{38F7D114-5B18-48B3-9704-04F4A446138B}" srcOrd="0" destOrd="0" presId="urn:microsoft.com/office/officeart/2018/2/layout/IconVerticalSolidList"/>
    <dgm:cxn modelId="{3A7D0DD8-4A1C-4815-A00F-2BCF280CBD4D}" type="presParOf" srcId="{C33EABD0-F942-4BB6-885F-E79801FBB8AA}" destId="{C04678E0-1C2E-44E1-A860-B5F81BCB0834}" srcOrd="1" destOrd="0" presId="urn:microsoft.com/office/officeart/2018/2/layout/IconVerticalSolidList"/>
    <dgm:cxn modelId="{37CF934B-75AB-43A1-ADA7-E64A58A0E02D}" type="presParOf" srcId="{C33EABD0-F942-4BB6-885F-E79801FBB8AA}" destId="{9128FA8C-B584-4324-81D7-D891A742DE29}" srcOrd="2" destOrd="0" presId="urn:microsoft.com/office/officeart/2018/2/layout/IconVerticalSolidList"/>
    <dgm:cxn modelId="{9FD4A209-A9A3-429D-9EAC-E804C845B377}" type="presParOf" srcId="{C33EABD0-F942-4BB6-885F-E79801FBB8AA}" destId="{41565F58-8283-419E-8A47-3AC885B7415F}" srcOrd="3" destOrd="0" presId="urn:microsoft.com/office/officeart/2018/2/layout/IconVerticalSolidList"/>
    <dgm:cxn modelId="{D741CC2E-5BE4-4681-BBA2-42831A23390D}" type="presParOf" srcId="{9AE6417D-BD76-4E30-B2AC-08B533B825FF}" destId="{17D13DDA-BA03-4114-A63D-DD32EC2C7199}" srcOrd="7" destOrd="0" presId="urn:microsoft.com/office/officeart/2018/2/layout/IconVerticalSolidList"/>
    <dgm:cxn modelId="{80BCE075-C042-41E8-8B3F-0C9131EFEC9B}" type="presParOf" srcId="{9AE6417D-BD76-4E30-B2AC-08B533B825FF}" destId="{D2BF4B18-2C91-4115-83E0-FA9B8BD3BFA8}" srcOrd="8" destOrd="0" presId="urn:microsoft.com/office/officeart/2018/2/layout/IconVerticalSolidList"/>
    <dgm:cxn modelId="{AE8DA158-50AF-46ED-AA83-50407597D183}" type="presParOf" srcId="{D2BF4B18-2C91-4115-83E0-FA9B8BD3BFA8}" destId="{9CA0F1EB-AD24-4752-85F7-B52AACC0BFDE}" srcOrd="0" destOrd="0" presId="urn:microsoft.com/office/officeart/2018/2/layout/IconVerticalSolidList"/>
    <dgm:cxn modelId="{0AAC1329-9897-47F6-9F5A-014B042F63AB}" type="presParOf" srcId="{D2BF4B18-2C91-4115-83E0-FA9B8BD3BFA8}" destId="{063DCC4F-B522-4AC2-BDF2-C277AF809D08}" srcOrd="1" destOrd="0" presId="urn:microsoft.com/office/officeart/2018/2/layout/IconVerticalSolidList"/>
    <dgm:cxn modelId="{275C05EB-D690-4C0D-9D16-3F701F1121BD}" type="presParOf" srcId="{D2BF4B18-2C91-4115-83E0-FA9B8BD3BFA8}" destId="{33216078-9E72-4022-B935-7CF6CD2E3A93}" srcOrd="2" destOrd="0" presId="urn:microsoft.com/office/officeart/2018/2/layout/IconVerticalSolidList"/>
    <dgm:cxn modelId="{77DE9BC9-8754-4674-B0FF-6F058BACF564}" type="presParOf" srcId="{D2BF4B18-2C91-4115-83E0-FA9B8BD3BFA8}" destId="{2A765038-9769-47C9-8954-3460CCC728FA}" srcOrd="3" destOrd="0" presId="urn:microsoft.com/office/officeart/2018/2/layout/IconVerticalSolidList"/>
    <dgm:cxn modelId="{58168D1C-D2A2-4665-B65F-DE6C7ECFA66A}" type="presParOf" srcId="{D2BF4B18-2C91-4115-83E0-FA9B8BD3BFA8}" destId="{61CCFD46-38A2-4103-9036-1C3143FFAD16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9F8BCE-1497-46C4-AC94-6DA95933E7B1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A44CAA72-0CE4-458B-9C14-199C65DD7657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Udsendelse af tilslutningsaftaler til 98K, </a:t>
          </a:r>
          <a:r>
            <a:rPr lang="da-DK" b="1"/>
            <a:t>26.01.2024</a:t>
          </a:r>
          <a:endParaRPr lang="en-US"/>
        </a:p>
      </dgm:t>
    </dgm:pt>
    <dgm:pt modelId="{9FD8E3FA-7EB9-46B1-827B-EA84F4948B2C}" type="parTrans" cxnId="{CF54AF7F-FCEA-454D-84B7-F827F0819005}">
      <dgm:prSet/>
      <dgm:spPr/>
      <dgm:t>
        <a:bodyPr/>
        <a:lstStyle/>
        <a:p>
          <a:endParaRPr lang="en-US"/>
        </a:p>
      </dgm:t>
    </dgm:pt>
    <dgm:pt modelId="{0FFA3F09-5787-4220-9336-AD3F70A284B3}" type="sibTrans" cxnId="{CF54AF7F-FCEA-454D-84B7-F827F0819005}">
      <dgm:prSet/>
      <dgm:spPr/>
      <dgm:t>
        <a:bodyPr/>
        <a:lstStyle/>
        <a:p>
          <a:endParaRPr lang="en-US"/>
        </a:p>
      </dgm:t>
    </dgm:pt>
    <dgm:pt modelId="{9817FFE1-19E8-4215-990E-23CEECEA459F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Udbuddet offentliggøres, </a:t>
          </a:r>
          <a:r>
            <a:rPr lang="da-DK" b="1"/>
            <a:t>januar 2024</a:t>
          </a:r>
          <a:endParaRPr lang="en-US"/>
        </a:p>
      </dgm:t>
    </dgm:pt>
    <dgm:pt modelId="{BC8E3342-2DFE-4630-A003-7FCDAD190DAE}" type="parTrans" cxnId="{A55B18D4-D896-4AF8-9280-42D7B0054E26}">
      <dgm:prSet/>
      <dgm:spPr/>
      <dgm:t>
        <a:bodyPr/>
        <a:lstStyle/>
        <a:p>
          <a:endParaRPr lang="en-US"/>
        </a:p>
      </dgm:t>
    </dgm:pt>
    <dgm:pt modelId="{BE53B1F2-CF91-432B-9100-3A723F087484}" type="sibTrans" cxnId="{A55B18D4-D896-4AF8-9280-42D7B0054E26}">
      <dgm:prSet/>
      <dgm:spPr/>
      <dgm:t>
        <a:bodyPr/>
        <a:lstStyle/>
        <a:p>
          <a:endParaRPr lang="en-US"/>
        </a:p>
      </dgm:t>
    </dgm:pt>
    <dgm:pt modelId="{D7537D52-7C83-42E5-B61B-83CB52B99AF7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40 K i alt underskriver tilslutningsaften, </a:t>
          </a:r>
          <a:r>
            <a:rPr lang="da-DK" b="1"/>
            <a:t>marts 2024</a:t>
          </a:r>
          <a:endParaRPr lang="en-US"/>
        </a:p>
      </dgm:t>
    </dgm:pt>
    <dgm:pt modelId="{108217B3-2386-413C-ACE9-B5A44EFF0824}" type="parTrans" cxnId="{403A05E9-F2B5-416D-A283-327AEA83523F}">
      <dgm:prSet/>
      <dgm:spPr/>
      <dgm:t>
        <a:bodyPr/>
        <a:lstStyle/>
        <a:p>
          <a:endParaRPr lang="en-US"/>
        </a:p>
      </dgm:t>
    </dgm:pt>
    <dgm:pt modelId="{913C0012-09A4-407A-8C92-81EC936570E3}" type="sibTrans" cxnId="{403A05E9-F2B5-416D-A283-327AEA83523F}">
      <dgm:prSet/>
      <dgm:spPr/>
      <dgm:t>
        <a:bodyPr/>
        <a:lstStyle/>
        <a:p>
          <a:endParaRPr lang="en-US"/>
        </a:p>
      </dgm:t>
    </dgm:pt>
    <dgm:pt modelId="{C5351522-5E9F-426F-927F-EC0181581353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Repræsentantskabsmødet den </a:t>
          </a:r>
          <a:r>
            <a:rPr lang="da-DK" b="1"/>
            <a:t>16.05.2024</a:t>
          </a:r>
          <a:endParaRPr lang="en-US"/>
        </a:p>
      </dgm:t>
    </dgm:pt>
    <dgm:pt modelId="{58E95F28-CAEE-4B7B-A1D9-78512C2D600B}" type="parTrans" cxnId="{CE850022-92CD-426B-B4E1-FFA7973E40DD}">
      <dgm:prSet/>
      <dgm:spPr/>
      <dgm:t>
        <a:bodyPr/>
        <a:lstStyle/>
        <a:p>
          <a:endParaRPr lang="en-US"/>
        </a:p>
      </dgm:t>
    </dgm:pt>
    <dgm:pt modelId="{9985355E-875A-4F56-A52B-55A91A7A6C9E}" type="sibTrans" cxnId="{CE850022-92CD-426B-B4E1-FFA7973E40DD}">
      <dgm:prSet/>
      <dgm:spPr/>
      <dgm:t>
        <a:bodyPr/>
        <a:lstStyle/>
        <a:p>
          <a:endParaRPr lang="en-US"/>
        </a:p>
      </dgm:t>
    </dgm:pt>
    <dgm:pt modelId="{4A4C78FD-71AD-463D-BE92-1987AC3A0753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Præsentation af tidsplan, økonomi, opgaver </a:t>
          </a:r>
          <a:endParaRPr lang="en-US"/>
        </a:p>
      </dgm:t>
    </dgm:pt>
    <dgm:pt modelId="{B27C1C73-5104-4E09-943F-AAA787D51864}" type="parTrans" cxnId="{2F621813-73B4-4A60-A24C-ED5459098DE8}">
      <dgm:prSet/>
      <dgm:spPr/>
      <dgm:t>
        <a:bodyPr/>
        <a:lstStyle/>
        <a:p>
          <a:endParaRPr lang="en-US"/>
        </a:p>
      </dgm:t>
    </dgm:pt>
    <dgm:pt modelId="{F867B57D-CAE5-4202-BE0F-41E00D51D337}" type="sibTrans" cxnId="{2F621813-73B4-4A60-A24C-ED5459098DE8}">
      <dgm:prSet/>
      <dgm:spPr/>
      <dgm:t>
        <a:bodyPr/>
        <a:lstStyle/>
        <a:p>
          <a:endParaRPr lang="en-US"/>
        </a:p>
      </dgm:t>
    </dgm:pt>
    <dgm:pt modelId="{15DA96B7-AF08-4593-837A-B665A84DD28B}" type="pres">
      <dgm:prSet presAssocID="{4A9F8BCE-1497-46C4-AC94-6DA95933E7B1}" presName="root" presStyleCnt="0">
        <dgm:presLayoutVars>
          <dgm:dir/>
          <dgm:resizeHandles val="exact"/>
        </dgm:presLayoutVars>
      </dgm:prSet>
      <dgm:spPr/>
    </dgm:pt>
    <dgm:pt modelId="{39A4D603-6CDB-4A1D-AFD5-179F46CC7E97}" type="pres">
      <dgm:prSet presAssocID="{A44CAA72-0CE4-458B-9C14-199C65DD7657}" presName="compNode" presStyleCnt="0"/>
      <dgm:spPr/>
    </dgm:pt>
    <dgm:pt modelId="{4448D04A-EDC7-4382-956E-FA69B3B02EF9}" type="pres">
      <dgm:prSet presAssocID="{A44CAA72-0CE4-458B-9C14-199C65DD7657}" presName="bgRect" presStyleLbl="bgShp" presStyleIdx="0" presStyleCnt="4"/>
      <dgm:spPr/>
    </dgm:pt>
    <dgm:pt modelId="{D3F62C0B-E56B-4E3F-9BF4-99B6FD2044CB}" type="pres">
      <dgm:prSet presAssocID="{A44CAA72-0CE4-458B-9C14-199C65DD765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mote control"/>
        </a:ext>
      </dgm:extLst>
    </dgm:pt>
    <dgm:pt modelId="{245B0336-5325-4B4D-929D-05196AB1650F}" type="pres">
      <dgm:prSet presAssocID="{A44CAA72-0CE4-458B-9C14-199C65DD7657}" presName="spaceRect" presStyleCnt="0"/>
      <dgm:spPr/>
    </dgm:pt>
    <dgm:pt modelId="{72043223-55BD-4EA2-A8DC-03189108C21F}" type="pres">
      <dgm:prSet presAssocID="{A44CAA72-0CE4-458B-9C14-199C65DD7657}" presName="parTx" presStyleLbl="revTx" presStyleIdx="0" presStyleCnt="5">
        <dgm:presLayoutVars>
          <dgm:chMax val="0"/>
          <dgm:chPref val="0"/>
        </dgm:presLayoutVars>
      </dgm:prSet>
      <dgm:spPr/>
    </dgm:pt>
    <dgm:pt modelId="{D33CFDD0-D9F1-40DD-AC14-C0415A1A4CBF}" type="pres">
      <dgm:prSet presAssocID="{0FFA3F09-5787-4220-9336-AD3F70A284B3}" presName="sibTrans" presStyleCnt="0"/>
      <dgm:spPr/>
    </dgm:pt>
    <dgm:pt modelId="{C1691BE2-42BD-4459-9EEA-5C1A207C1332}" type="pres">
      <dgm:prSet presAssocID="{9817FFE1-19E8-4215-990E-23CEECEA459F}" presName="compNode" presStyleCnt="0"/>
      <dgm:spPr/>
    </dgm:pt>
    <dgm:pt modelId="{BA39AFDA-13DB-4D20-9992-BC971C8B6603}" type="pres">
      <dgm:prSet presAssocID="{9817FFE1-19E8-4215-990E-23CEECEA459F}" presName="bgRect" presStyleLbl="bgShp" presStyleIdx="1" presStyleCnt="4"/>
      <dgm:spPr/>
    </dgm:pt>
    <dgm:pt modelId="{2B9CCBAC-1626-4848-879B-B734737434FE}" type="pres">
      <dgm:prSet presAssocID="{9817FFE1-19E8-4215-990E-23CEECEA459F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anonslag"/>
        </a:ext>
      </dgm:extLst>
    </dgm:pt>
    <dgm:pt modelId="{6652AC68-A428-49F7-9AE5-CC3C36C4ECF2}" type="pres">
      <dgm:prSet presAssocID="{9817FFE1-19E8-4215-990E-23CEECEA459F}" presName="spaceRect" presStyleCnt="0"/>
      <dgm:spPr/>
    </dgm:pt>
    <dgm:pt modelId="{C536020F-2278-485A-978E-74A0B76262E6}" type="pres">
      <dgm:prSet presAssocID="{9817FFE1-19E8-4215-990E-23CEECEA459F}" presName="parTx" presStyleLbl="revTx" presStyleIdx="1" presStyleCnt="5">
        <dgm:presLayoutVars>
          <dgm:chMax val="0"/>
          <dgm:chPref val="0"/>
        </dgm:presLayoutVars>
      </dgm:prSet>
      <dgm:spPr/>
    </dgm:pt>
    <dgm:pt modelId="{5C3E748D-E293-4887-AE5C-1DA9248A4320}" type="pres">
      <dgm:prSet presAssocID="{BE53B1F2-CF91-432B-9100-3A723F087484}" presName="sibTrans" presStyleCnt="0"/>
      <dgm:spPr/>
    </dgm:pt>
    <dgm:pt modelId="{28637DA7-01EA-4D16-B7A7-8FAA8E88B56F}" type="pres">
      <dgm:prSet presAssocID="{D7537D52-7C83-42E5-B61B-83CB52B99AF7}" presName="compNode" presStyleCnt="0"/>
      <dgm:spPr/>
    </dgm:pt>
    <dgm:pt modelId="{1BC20297-0690-4B7B-BE8A-5C84D5EFBB25}" type="pres">
      <dgm:prSet presAssocID="{D7537D52-7C83-42E5-B61B-83CB52B99AF7}" presName="bgRect" presStyleLbl="bgShp" presStyleIdx="2" presStyleCnt="4"/>
      <dgm:spPr/>
    </dgm:pt>
    <dgm:pt modelId="{FFB11CD3-3621-47BC-BB5A-C63224101FD3}" type="pres">
      <dgm:prSet presAssocID="{D7537D52-7C83-42E5-B61B-83CB52B99AF7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lloner"/>
        </a:ext>
      </dgm:extLst>
    </dgm:pt>
    <dgm:pt modelId="{D3AD3CD0-1D31-4DDA-A86A-59DF93ED28EC}" type="pres">
      <dgm:prSet presAssocID="{D7537D52-7C83-42E5-B61B-83CB52B99AF7}" presName="spaceRect" presStyleCnt="0"/>
      <dgm:spPr/>
    </dgm:pt>
    <dgm:pt modelId="{61AD542D-0FF3-4BFC-BC68-0C0614D4D924}" type="pres">
      <dgm:prSet presAssocID="{D7537D52-7C83-42E5-B61B-83CB52B99AF7}" presName="parTx" presStyleLbl="revTx" presStyleIdx="2" presStyleCnt="5">
        <dgm:presLayoutVars>
          <dgm:chMax val="0"/>
          <dgm:chPref val="0"/>
        </dgm:presLayoutVars>
      </dgm:prSet>
      <dgm:spPr/>
    </dgm:pt>
    <dgm:pt modelId="{9CEFBEEE-7916-4F9C-BBC2-5D83D14B531E}" type="pres">
      <dgm:prSet presAssocID="{913C0012-09A4-407A-8C92-81EC936570E3}" presName="sibTrans" presStyleCnt="0"/>
      <dgm:spPr/>
    </dgm:pt>
    <dgm:pt modelId="{54AB71E8-0CC5-4F68-8480-13C5D5133890}" type="pres">
      <dgm:prSet presAssocID="{C5351522-5E9F-426F-927F-EC0181581353}" presName="compNode" presStyleCnt="0"/>
      <dgm:spPr/>
    </dgm:pt>
    <dgm:pt modelId="{18EA54DB-5673-4A0D-A236-BA27FA06F741}" type="pres">
      <dgm:prSet presAssocID="{C5351522-5E9F-426F-927F-EC0181581353}" presName="bgRect" presStyleLbl="bgShp" presStyleIdx="3" presStyleCnt="4"/>
      <dgm:spPr/>
    </dgm:pt>
    <dgm:pt modelId="{890A5F01-0129-4B34-9BF9-0EED6AADBE4B}" type="pres">
      <dgm:prSet presAssocID="{C5351522-5E9F-426F-927F-EC0181581353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r"/>
        </a:ext>
      </dgm:extLst>
    </dgm:pt>
    <dgm:pt modelId="{1286F0F8-6FA8-4F34-848B-F755BB77A9A8}" type="pres">
      <dgm:prSet presAssocID="{C5351522-5E9F-426F-927F-EC0181581353}" presName="spaceRect" presStyleCnt="0"/>
      <dgm:spPr/>
    </dgm:pt>
    <dgm:pt modelId="{30721C51-5E12-4550-9CC9-72BBC5021222}" type="pres">
      <dgm:prSet presAssocID="{C5351522-5E9F-426F-927F-EC0181581353}" presName="parTx" presStyleLbl="revTx" presStyleIdx="3" presStyleCnt="5">
        <dgm:presLayoutVars>
          <dgm:chMax val="0"/>
          <dgm:chPref val="0"/>
        </dgm:presLayoutVars>
      </dgm:prSet>
      <dgm:spPr/>
    </dgm:pt>
    <dgm:pt modelId="{35F8247E-6B84-4C27-9156-D3A53C596D9D}" type="pres">
      <dgm:prSet presAssocID="{C5351522-5E9F-426F-927F-EC0181581353}" presName="desTx" presStyleLbl="revTx" presStyleIdx="4" presStyleCnt="5">
        <dgm:presLayoutVars/>
      </dgm:prSet>
      <dgm:spPr/>
    </dgm:pt>
  </dgm:ptLst>
  <dgm:cxnLst>
    <dgm:cxn modelId="{2F621813-73B4-4A60-A24C-ED5459098DE8}" srcId="{C5351522-5E9F-426F-927F-EC0181581353}" destId="{4A4C78FD-71AD-463D-BE92-1987AC3A0753}" srcOrd="0" destOrd="0" parTransId="{B27C1C73-5104-4E09-943F-AAA787D51864}" sibTransId="{F867B57D-CAE5-4202-BE0F-41E00D51D337}"/>
    <dgm:cxn modelId="{CE850022-92CD-426B-B4E1-FFA7973E40DD}" srcId="{4A9F8BCE-1497-46C4-AC94-6DA95933E7B1}" destId="{C5351522-5E9F-426F-927F-EC0181581353}" srcOrd="3" destOrd="0" parTransId="{58E95F28-CAEE-4B7B-A1D9-78512C2D600B}" sibTransId="{9985355E-875A-4F56-A52B-55A91A7A6C9E}"/>
    <dgm:cxn modelId="{249C6E2B-1C7C-4E9D-AE1E-E2B6E646974C}" type="presOf" srcId="{D7537D52-7C83-42E5-B61B-83CB52B99AF7}" destId="{61AD542D-0FF3-4BFC-BC68-0C0614D4D924}" srcOrd="0" destOrd="0" presId="urn:microsoft.com/office/officeart/2018/2/layout/IconVerticalSolidList"/>
    <dgm:cxn modelId="{C2619C6E-2CEA-49BF-9F3C-347F1D13CE3B}" type="presOf" srcId="{A44CAA72-0CE4-458B-9C14-199C65DD7657}" destId="{72043223-55BD-4EA2-A8DC-03189108C21F}" srcOrd="0" destOrd="0" presId="urn:microsoft.com/office/officeart/2018/2/layout/IconVerticalSolidList"/>
    <dgm:cxn modelId="{CF54AF7F-FCEA-454D-84B7-F827F0819005}" srcId="{4A9F8BCE-1497-46C4-AC94-6DA95933E7B1}" destId="{A44CAA72-0CE4-458B-9C14-199C65DD7657}" srcOrd="0" destOrd="0" parTransId="{9FD8E3FA-7EB9-46B1-827B-EA84F4948B2C}" sibTransId="{0FFA3F09-5787-4220-9336-AD3F70A284B3}"/>
    <dgm:cxn modelId="{522C4B83-7A0F-40FD-914F-004467BB261A}" type="presOf" srcId="{4A4C78FD-71AD-463D-BE92-1987AC3A0753}" destId="{35F8247E-6B84-4C27-9156-D3A53C596D9D}" srcOrd="0" destOrd="0" presId="urn:microsoft.com/office/officeart/2018/2/layout/IconVerticalSolidList"/>
    <dgm:cxn modelId="{41B17792-A4C1-49B3-818B-7F714D4FECF6}" type="presOf" srcId="{9817FFE1-19E8-4215-990E-23CEECEA459F}" destId="{C536020F-2278-485A-978E-74A0B76262E6}" srcOrd="0" destOrd="0" presId="urn:microsoft.com/office/officeart/2018/2/layout/IconVerticalSolidList"/>
    <dgm:cxn modelId="{314388A4-8CA7-489B-B309-BDD3C43C9DD7}" type="presOf" srcId="{4A9F8BCE-1497-46C4-AC94-6DA95933E7B1}" destId="{15DA96B7-AF08-4593-837A-B665A84DD28B}" srcOrd="0" destOrd="0" presId="urn:microsoft.com/office/officeart/2018/2/layout/IconVerticalSolidList"/>
    <dgm:cxn modelId="{A55B18D4-D896-4AF8-9280-42D7B0054E26}" srcId="{4A9F8BCE-1497-46C4-AC94-6DA95933E7B1}" destId="{9817FFE1-19E8-4215-990E-23CEECEA459F}" srcOrd="1" destOrd="0" parTransId="{BC8E3342-2DFE-4630-A003-7FCDAD190DAE}" sibTransId="{BE53B1F2-CF91-432B-9100-3A723F087484}"/>
    <dgm:cxn modelId="{403A05E9-F2B5-416D-A283-327AEA83523F}" srcId="{4A9F8BCE-1497-46C4-AC94-6DA95933E7B1}" destId="{D7537D52-7C83-42E5-B61B-83CB52B99AF7}" srcOrd="2" destOrd="0" parTransId="{108217B3-2386-413C-ACE9-B5A44EFF0824}" sibTransId="{913C0012-09A4-407A-8C92-81EC936570E3}"/>
    <dgm:cxn modelId="{62BCE7ED-9A29-4817-9EEC-0473807BA9ED}" type="presOf" srcId="{C5351522-5E9F-426F-927F-EC0181581353}" destId="{30721C51-5E12-4550-9CC9-72BBC5021222}" srcOrd="0" destOrd="0" presId="urn:microsoft.com/office/officeart/2018/2/layout/IconVerticalSolidList"/>
    <dgm:cxn modelId="{7F0BCB8E-7BAD-4AED-B3D8-49E422F65D3D}" type="presParOf" srcId="{15DA96B7-AF08-4593-837A-B665A84DD28B}" destId="{39A4D603-6CDB-4A1D-AFD5-179F46CC7E97}" srcOrd="0" destOrd="0" presId="urn:microsoft.com/office/officeart/2018/2/layout/IconVerticalSolidList"/>
    <dgm:cxn modelId="{73BBB67C-1555-4ABB-A32F-560D4CB50D97}" type="presParOf" srcId="{39A4D603-6CDB-4A1D-AFD5-179F46CC7E97}" destId="{4448D04A-EDC7-4382-956E-FA69B3B02EF9}" srcOrd="0" destOrd="0" presId="urn:microsoft.com/office/officeart/2018/2/layout/IconVerticalSolidList"/>
    <dgm:cxn modelId="{0E3B750C-12B4-4AC9-9D4B-1159A046643F}" type="presParOf" srcId="{39A4D603-6CDB-4A1D-AFD5-179F46CC7E97}" destId="{D3F62C0B-E56B-4E3F-9BF4-99B6FD2044CB}" srcOrd="1" destOrd="0" presId="urn:microsoft.com/office/officeart/2018/2/layout/IconVerticalSolidList"/>
    <dgm:cxn modelId="{66076229-E974-4311-9ED6-A95B4472E32E}" type="presParOf" srcId="{39A4D603-6CDB-4A1D-AFD5-179F46CC7E97}" destId="{245B0336-5325-4B4D-929D-05196AB1650F}" srcOrd="2" destOrd="0" presId="urn:microsoft.com/office/officeart/2018/2/layout/IconVerticalSolidList"/>
    <dgm:cxn modelId="{D7889615-9745-42D0-8ED0-0B96B94554E8}" type="presParOf" srcId="{39A4D603-6CDB-4A1D-AFD5-179F46CC7E97}" destId="{72043223-55BD-4EA2-A8DC-03189108C21F}" srcOrd="3" destOrd="0" presId="urn:microsoft.com/office/officeart/2018/2/layout/IconVerticalSolidList"/>
    <dgm:cxn modelId="{43E2C902-EF81-44FB-9B3F-047B22B67A89}" type="presParOf" srcId="{15DA96B7-AF08-4593-837A-B665A84DD28B}" destId="{D33CFDD0-D9F1-40DD-AC14-C0415A1A4CBF}" srcOrd="1" destOrd="0" presId="urn:microsoft.com/office/officeart/2018/2/layout/IconVerticalSolidList"/>
    <dgm:cxn modelId="{198BDA8B-B20F-4504-898D-7B5F9140AC74}" type="presParOf" srcId="{15DA96B7-AF08-4593-837A-B665A84DD28B}" destId="{C1691BE2-42BD-4459-9EEA-5C1A207C1332}" srcOrd="2" destOrd="0" presId="urn:microsoft.com/office/officeart/2018/2/layout/IconVerticalSolidList"/>
    <dgm:cxn modelId="{6FF528F1-AFC0-4390-8967-F69C03F2E5E9}" type="presParOf" srcId="{C1691BE2-42BD-4459-9EEA-5C1A207C1332}" destId="{BA39AFDA-13DB-4D20-9992-BC971C8B6603}" srcOrd="0" destOrd="0" presId="urn:microsoft.com/office/officeart/2018/2/layout/IconVerticalSolidList"/>
    <dgm:cxn modelId="{26FB4429-A351-4363-92CC-EA98E7B1D108}" type="presParOf" srcId="{C1691BE2-42BD-4459-9EEA-5C1A207C1332}" destId="{2B9CCBAC-1626-4848-879B-B734737434FE}" srcOrd="1" destOrd="0" presId="urn:microsoft.com/office/officeart/2018/2/layout/IconVerticalSolidList"/>
    <dgm:cxn modelId="{090E8958-F1D1-413A-B521-20DA1A9A9B27}" type="presParOf" srcId="{C1691BE2-42BD-4459-9EEA-5C1A207C1332}" destId="{6652AC68-A428-49F7-9AE5-CC3C36C4ECF2}" srcOrd="2" destOrd="0" presId="urn:microsoft.com/office/officeart/2018/2/layout/IconVerticalSolidList"/>
    <dgm:cxn modelId="{69B96E4C-0047-4D83-9D92-BAD0D742CD5E}" type="presParOf" srcId="{C1691BE2-42BD-4459-9EEA-5C1A207C1332}" destId="{C536020F-2278-485A-978E-74A0B76262E6}" srcOrd="3" destOrd="0" presId="urn:microsoft.com/office/officeart/2018/2/layout/IconVerticalSolidList"/>
    <dgm:cxn modelId="{1E28EF6C-F656-4931-80CD-56B873062EAB}" type="presParOf" srcId="{15DA96B7-AF08-4593-837A-B665A84DD28B}" destId="{5C3E748D-E293-4887-AE5C-1DA9248A4320}" srcOrd="3" destOrd="0" presId="urn:microsoft.com/office/officeart/2018/2/layout/IconVerticalSolidList"/>
    <dgm:cxn modelId="{1C7C269F-7C8B-4095-B8CA-8FB325CF5424}" type="presParOf" srcId="{15DA96B7-AF08-4593-837A-B665A84DD28B}" destId="{28637DA7-01EA-4D16-B7A7-8FAA8E88B56F}" srcOrd="4" destOrd="0" presId="urn:microsoft.com/office/officeart/2018/2/layout/IconVerticalSolidList"/>
    <dgm:cxn modelId="{A1465269-1DD6-4032-A408-32A286FD292C}" type="presParOf" srcId="{28637DA7-01EA-4D16-B7A7-8FAA8E88B56F}" destId="{1BC20297-0690-4B7B-BE8A-5C84D5EFBB25}" srcOrd="0" destOrd="0" presId="urn:microsoft.com/office/officeart/2018/2/layout/IconVerticalSolidList"/>
    <dgm:cxn modelId="{6A1B7294-959B-40A7-B6B5-EDD13E6F1F32}" type="presParOf" srcId="{28637DA7-01EA-4D16-B7A7-8FAA8E88B56F}" destId="{FFB11CD3-3621-47BC-BB5A-C63224101FD3}" srcOrd="1" destOrd="0" presId="urn:microsoft.com/office/officeart/2018/2/layout/IconVerticalSolidList"/>
    <dgm:cxn modelId="{2B3B70CC-3B19-42B6-883C-015702D1CC4B}" type="presParOf" srcId="{28637DA7-01EA-4D16-B7A7-8FAA8E88B56F}" destId="{D3AD3CD0-1D31-4DDA-A86A-59DF93ED28EC}" srcOrd="2" destOrd="0" presId="urn:microsoft.com/office/officeart/2018/2/layout/IconVerticalSolidList"/>
    <dgm:cxn modelId="{5985FFA0-C9DC-45F9-AC65-937611D786DE}" type="presParOf" srcId="{28637DA7-01EA-4D16-B7A7-8FAA8E88B56F}" destId="{61AD542D-0FF3-4BFC-BC68-0C0614D4D924}" srcOrd="3" destOrd="0" presId="urn:microsoft.com/office/officeart/2018/2/layout/IconVerticalSolidList"/>
    <dgm:cxn modelId="{C744F1F2-DE6B-4F8E-9160-EDCC52260C6E}" type="presParOf" srcId="{15DA96B7-AF08-4593-837A-B665A84DD28B}" destId="{9CEFBEEE-7916-4F9C-BBC2-5D83D14B531E}" srcOrd="5" destOrd="0" presId="urn:microsoft.com/office/officeart/2018/2/layout/IconVerticalSolidList"/>
    <dgm:cxn modelId="{C7B5707A-E95F-4A72-ACE5-F8337F2816AE}" type="presParOf" srcId="{15DA96B7-AF08-4593-837A-B665A84DD28B}" destId="{54AB71E8-0CC5-4F68-8480-13C5D5133890}" srcOrd="6" destOrd="0" presId="urn:microsoft.com/office/officeart/2018/2/layout/IconVerticalSolidList"/>
    <dgm:cxn modelId="{3EC2A683-44D5-4C1B-B0BB-2E65751CF4F1}" type="presParOf" srcId="{54AB71E8-0CC5-4F68-8480-13C5D5133890}" destId="{18EA54DB-5673-4A0D-A236-BA27FA06F741}" srcOrd="0" destOrd="0" presId="urn:microsoft.com/office/officeart/2018/2/layout/IconVerticalSolidList"/>
    <dgm:cxn modelId="{2F100A2B-24D2-4863-9173-6597D909E380}" type="presParOf" srcId="{54AB71E8-0CC5-4F68-8480-13C5D5133890}" destId="{890A5F01-0129-4B34-9BF9-0EED6AADBE4B}" srcOrd="1" destOrd="0" presId="urn:microsoft.com/office/officeart/2018/2/layout/IconVerticalSolidList"/>
    <dgm:cxn modelId="{FAECD924-B25B-47F8-9CCD-7279F519EF56}" type="presParOf" srcId="{54AB71E8-0CC5-4F68-8480-13C5D5133890}" destId="{1286F0F8-6FA8-4F34-848B-F755BB77A9A8}" srcOrd="2" destOrd="0" presId="urn:microsoft.com/office/officeart/2018/2/layout/IconVerticalSolidList"/>
    <dgm:cxn modelId="{9A7BB596-3E5C-4FBE-BE74-6B335BFC8F7D}" type="presParOf" srcId="{54AB71E8-0CC5-4F68-8480-13C5D5133890}" destId="{30721C51-5E12-4550-9CC9-72BBC5021222}" srcOrd="3" destOrd="0" presId="urn:microsoft.com/office/officeart/2018/2/layout/IconVerticalSolidList"/>
    <dgm:cxn modelId="{05EA7684-BCE6-4B83-9C10-AD359F98C393}" type="presParOf" srcId="{54AB71E8-0CC5-4F68-8480-13C5D5133890}" destId="{35F8247E-6B84-4C27-9156-D3A53C596D9D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00A62F-2B5A-4B4C-BA4C-25C16196C131}">
      <dsp:nvSpPr>
        <dsp:cNvPr id="0" name=""/>
        <dsp:cNvSpPr/>
      </dsp:nvSpPr>
      <dsp:spPr>
        <a:xfrm>
          <a:off x="0" y="315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872167-D744-4D11-9133-3C5CACC7E6E8}">
      <dsp:nvSpPr>
        <dsp:cNvPr id="0" name=""/>
        <dsp:cNvSpPr/>
      </dsp:nvSpPr>
      <dsp:spPr>
        <a:xfrm>
          <a:off x="203294" y="154366"/>
          <a:ext cx="369626" cy="36962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39A779-E0F6-47B0-9EE4-893C454A2744}">
      <dsp:nvSpPr>
        <dsp:cNvPr id="0" name=""/>
        <dsp:cNvSpPr/>
      </dsp:nvSpPr>
      <dsp:spPr>
        <a:xfrm>
          <a:off x="776215" y="3155"/>
          <a:ext cx="482509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tyregruppemøde </a:t>
          </a:r>
          <a:r>
            <a:rPr lang="da-DK" sz="1900" b="1" kern="1200"/>
            <a:t>16.08.2023</a:t>
          </a:r>
          <a:endParaRPr lang="en-US" sz="1900" kern="1200"/>
        </a:p>
      </dsp:txBody>
      <dsp:txXfrm>
        <a:off x="776215" y="3155"/>
        <a:ext cx="4825093" cy="672048"/>
      </dsp:txXfrm>
    </dsp:sp>
    <dsp:sp modelId="{72980AFE-DC4D-45E4-A59F-248E94541C9D}">
      <dsp:nvSpPr>
        <dsp:cNvPr id="0" name=""/>
        <dsp:cNvSpPr/>
      </dsp:nvSpPr>
      <dsp:spPr>
        <a:xfrm>
          <a:off x="5601308" y="3155"/>
          <a:ext cx="5121120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- Beslutning om at lave indstilling til repræsentantskabet på e-mail om at gå i udbud (notat)</a:t>
          </a:r>
          <a:endParaRPr lang="en-US" sz="1600" kern="1200"/>
        </a:p>
      </dsp:txBody>
      <dsp:txXfrm>
        <a:off x="5601308" y="3155"/>
        <a:ext cx="5121120" cy="672048"/>
      </dsp:txXfrm>
    </dsp:sp>
    <dsp:sp modelId="{6C320904-50A2-4EC4-93DD-8E2311451E2A}">
      <dsp:nvSpPr>
        <dsp:cNvPr id="0" name=""/>
        <dsp:cNvSpPr/>
      </dsp:nvSpPr>
      <dsp:spPr>
        <a:xfrm>
          <a:off x="0" y="84321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2EF725-3F35-4528-A1F6-F584DAD94D30}">
      <dsp:nvSpPr>
        <dsp:cNvPr id="0" name=""/>
        <dsp:cNvSpPr/>
      </dsp:nvSpPr>
      <dsp:spPr>
        <a:xfrm>
          <a:off x="203294" y="994426"/>
          <a:ext cx="369626" cy="36962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E7B9C1-BB69-463A-BA03-627ABDBF787E}">
      <dsp:nvSpPr>
        <dsp:cNvPr id="0" name=""/>
        <dsp:cNvSpPr/>
      </dsp:nvSpPr>
      <dsp:spPr>
        <a:xfrm>
          <a:off x="776215" y="843215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tyregruppe e-mail til DDH repræsentantskab den </a:t>
          </a:r>
          <a:r>
            <a:rPr lang="da-DK" sz="1900" b="1" kern="1200"/>
            <a:t>24.08.2023</a:t>
          </a:r>
          <a:r>
            <a:rPr lang="da-DK" sz="1900" kern="1200"/>
            <a:t> </a:t>
          </a:r>
          <a:endParaRPr lang="en-US" sz="1900" kern="1200"/>
        </a:p>
      </dsp:txBody>
      <dsp:txXfrm>
        <a:off x="776215" y="843215"/>
        <a:ext cx="9946213" cy="672048"/>
      </dsp:txXfrm>
    </dsp:sp>
    <dsp:sp modelId="{3569BB8B-7094-4224-81B2-3A7BB4E18D81}">
      <dsp:nvSpPr>
        <dsp:cNvPr id="0" name=""/>
        <dsp:cNvSpPr/>
      </dsp:nvSpPr>
      <dsp:spPr>
        <a:xfrm>
          <a:off x="0" y="168327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BF2D5B-6E9E-474B-84F6-9DE73A59152A}">
      <dsp:nvSpPr>
        <dsp:cNvPr id="0" name=""/>
        <dsp:cNvSpPr/>
      </dsp:nvSpPr>
      <dsp:spPr>
        <a:xfrm>
          <a:off x="203294" y="1834486"/>
          <a:ext cx="369626" cy="36962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7CDF17-BEFC-42E2-B7F5-DE6312345000}">
      <dsp:nvSpPr>
        <dsp:cNvPr id="0" name=""/>
        <dsp:cNvSpPr/>
      </dsp:nvSpPr>
      <dsp:spPr>
        <a:xfrm>
          <a:off x="776215" y="1683275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pørgetime DDH repræsentantskab om udbud </a:t>
          </a:r>
          <a:r>
            <a:rPr lang="da-DK" sz="1900" b="1" kern="1200"/>
            <a:t>12./14.09.2023</a:t>
          </a:r>
          <a:endParaRPr lang="en-US" sz="1900" kern="1200"/>
        </a:p>
      </dsp:txBody>
      <dsp:txXfrm>
        <a:off x="776215" y="1683275"/>
        <a:ext cx="9946213" cy="672048"/>
      </dsp:txXfrm>
    </dsp:sp>
    <dsp:sp modelId="{38F7D114-5B18-48B3-9704-04F4A446138B}">
      <dsp:nvSpPr>
        <dsp:cNvPr id="0" name=""/>
        <dsp:cNvSpPr/>
      </dsp:nvSpPr>
      <dsp:spPr>
        <a:xfrm>
          <a:off x="0" y="2523336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4678E0-1C2E-44E1-A860-B5F81BCB0834}">
      <dsp:nvSpPr>
        <dsp:cNvPr id="0" name=""/>
        <dsp:cNvSpPr/>
      </dsp:nvSpPr>
      <dsp:spPr>
        <a:xfrm>
          <a:off x="203294" y="2674547"/>
          <a:ext cx="369626" cy="36962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565F58-8283-419E-8A47-3AC885B7415F}">
      <dsp:nvSpPr>
        <dsp:cNvPr id="0" name=""/>
        <dsp:cNvSpPr/>
      </dsp:nvSpPr>
      <dsp:spPr>
        <a:xfrm>
          <a:off x="776215" y="2523336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Godkendelse af DDH. Rep. af at gå i udbud </a:t>
          </a:r>
          <a:r>
            <a:rPr lang="da-DK" sz="1900" b="1" kern="1200"/>
            <a:t>22.09.2023 (e-mail)</a:t>
          </a:r>
          <a:endParaRPr lang="en-US" sz="1900" kern="1200"/>
        </a:p>
      </dsp:txBody>
      <dsp:txXfrm>
        <a:off x="776215" y="2523336"/>
        <a:ext cx="9946213" cy="672048"/>
      </dsp:txXfrm>
    </dsp:sp>
    <dsp:sp modelId="{9CA0F1EB-AD24-4752-85F7-B52AACC0BFDE}">
      <dsp:nvSpPr>
        <dsp:cNvPr id="0" name=""/>
        <dsp:cNvSpPr/>
      </dsp:nvSpPr>
      <dsp:spPr>
        <a:xfrm>
          <a:off x="0" y="3363396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3DCC4F-B522-4AC2-BDF2-C277AF809D08}">
      <dsp:nvSpPr>
        <dsp:cNvPr id="0" name=""/>
        <dsp:cNvSpPr/>
      </dsp:nvSpPr>
      <dsp:spPr>
        <a:xfrm>
          <a:off x="203294" y="3514607"/>
          <a:ext cx="369626" cy="36962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765038-9769-47C9-8954-3460CCC728FA}">
      <dsp:nvSpPr>
        <dsp:cNvPr id="0" name=""/>
        <dsp:cNvSpPr/>
      </dsp:nvSpPr>
      <dsp:spPr>
        <a:xfrm>
          <a:off x="776215" y="3363396"/>
          <a:ext cx="482509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Repræsentantskabsmødet den </a:t>
          </a:r>
          <a:r>
            <a:rPr lang="da-DK" sz="1900" b="1" kern="1200"/>
            <a:t>31.10.2023</a:t>
          </a:r>
          <a:endParaRPr lang="en-US" sz="1900" kern="1200"/>
        </a:p>
      </dsp:txBody>
      <dsp:txXfrm>
        <a:off x="776215" y="3363396"/>
        <a:ext cx="4825093" cy="672048"/>
      </dsp:txXfrm>
    </dsp:sp>
    <dsp:sp modelId="{61CCFD46-38A2-4103-9036-1C3143FFAD16}">
      <dsp:nvSpPr>
        <dsp:cNvPr id="0" name=""/>
        <dsp:cNvSpPr/>
      </dsp:nvSpPr>
      <dsp:spPr>
        <a:xfrm>
          <a:off x="5601308" y="3363396"/>
          <a:ext cx="5121120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Præsentation af tidsplan</a:t>
          </a:r>
          <a:endParaRPr lang="en-US" sz="1600" kern="1200"/>
        </a:p>
      </dsp:txBody>
      <dsp:txXfrm>
        <a:off x="5601308" y="3363396"/>
        <a:ext cx="5121120" cy="6720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48D04A-EDC7-4382-956E-FA69B3B02EF9}">
      <dsp:nvSpPr>
        <dsp:cNvPr id="0" name=""/>
        <dsp:cNvSpPr/>
      </dsp:nvSpPr>
      <dsp:spPr>
        <a:xfrm>
          <a:off x="0" y="1676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F62C0B-E56B-4E3F-9BF4-99B6FD2044CB}">
      <dsp:nvSpPr>
        <dsp:cNvPr id="0" name=""/>
        <dsp:cNvSpPr/>
      </dsp:nvSpPr>
      <dsp:spPr>
        <a:xfrm>
          <a:off x="256981" y="192819"/>
          <a:ext cx="467239" cy="46723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043223-55BD-4EA2-A8DC-03189108C21F}">
      <dsp:nvSpPr>
        <dsp:cNvPr id="0" name=""/>
        <dsp:cNvSpPr/>
      </dsp:nvSpPr>
      <dsp:spPr>
        <a:xfrm>
          <a:off x="981202" y="1676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Udsendelse af tilslutningsaftaler til 98K, </a:t>
          </a:r>
          <a:r>
            <a:rPr lang="da-DK" sz="2100" b="1" kern="1200"/>
            <a:t>26.01.2024</a:t>
          </a:r>
          <a:endParaRPr lang="en-US" sz="2100" kern="1200"/>
        </a:p>
      </dsp:txBody>
      <dsp:txXfrm>
        <a:off x="981202" y="1676"/>
        <a:ext cx="8891668" cy="849525"/>
      </dsp:txXfrm>
    </dsp:sp>
    <dsp:sp modelId="{BA39AFDA-13DB-4D20-9992-BC971C8B6603}">
      <dsp:nvSpPr>
        <dsp:cNvPr id="0" name=""/>
        <dsp:cNvSpPr/>
      </dsp:nvSpPr>
      <dsp:spPr>
        <a:xfrm>
          <a:off x="0" y="1063583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9CCBAC-1626-4848-879B-B734737434FE}">
      <dsp:nvSpPr>
        <dsp:cNvPr id="0" name=""/>
        <dsp:cNvSpPr/>
      </dsp:nvSpPr>
      <dsp:spPr>
        <a:xfrm>
          <a:off x="256981" y="1254726"/>
          <a:ext cx="467239" cy="46723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36020F-2278-485A-978E-74A0B76262E6}">
      <dsp:nvSpPr>
        <dsp:cNvPr id="0" name=""/>
        <dsp:cNvSpPr/>
      </dsp:nvSpPr>
      <dsp:spPr>
        <a:xfrm>
          <a:off x="981202" y="1063583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Udbuddet offentliggøres, </a:t>
          </a:r>
          <a:r>
            <a:rPr lang="da-DK" sz="2100" b="1" kern="1200"/>
            <a:t>januar 2024</a:t>
          </a:r>
          <a:endParaRPr lang="en-US" sz="2100" kern="1200"/>
        </a:p>
      </dsp:txBody>
      <dsp:txXfrm>
        <a:off x="981202" y="1063583"/>
        <a:ext cx="8891668" cy="849525"/>
      </dsp:txXfrm>
    </dsp:sp>
    <dsp:sp modelId="{1BC20297-0690-4B7B-BE8A-5C84D5EFBB25}">
      <dsp:nvSpPr>
        <dsp:cNvPr id="0" name=""/>
        <dsp:cNvSpPr/>
      </dsp:nvSpPr>
      <dsp:spPr>
        <a:xfrm>
          <a:off x="0" y="2125490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B11CD3-3621-47BC-BB5A-C63224101FD3}">
      <dsp:nvSpPr>
        <dsp:cNvPr id="0" name=""/>
        <dsp:cNvSpPr/>
      </dsp:nvSpPr>
      <dsp:spPr>
        <a:xfrm>
          <a:off x="256981" y="2316634"/>
          <a:ext cx="467239" cy="46723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AD542D-0FF3-4BFC-BC68-0C0614D4D924}">
      <dsp:nvSpPr>
        <dsp:cNvPr id="0" name=""/>
        <dsp:cNvSpPr/>
      </dsp:nvSpPr>
      <dsp:spPr>
        <a:xfrm>
          <a:off x="981202" y="2125490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40 K i alt underskriver tilslutningsaften, </a:t>
          </a:r>
          <a:r>
            <a:rPr lang="da-DK" sz="2100" b="1" kern="1200"/>
            <a:t>marts 2024</a:t>
          </a:r>
          <a:endParaRPr lang="en-US" sz="2100" kern="1200"/>
        </a:p>
      </dsp:txBody>
      <dsp:txXfrm>
        <a:off x="981202" y="2125490"/>
        <a:ext cx="8891668" cy="849525"/>
      </dsp:txXfrm>
    </dsp:sp>
    <dsp:sp modelId="{18EA54DB-5673-4A0D-A236-BA27FA06F741}">
      <dsp:nvSpPr>
        <dsp:cNvPr id="0" name=""/>
        <dsp:cNvSpPr/>
      </dsp:nvSpPr>
      <dsp:spPr>
        <a:xfrm>
          <a:off x="0" y="3187398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0A5F01-0129-4B34-9BF9-0EED6AADBE4B}">
      <dsp:nvSpPr>
        <dsp:cNvPr id="0" name=""/>
        <dsp:cNvSpPr/>
      </dsp:nvSpPr>
      <dsp:spPr>
        <a:xfrm>
          <a:off x="256981" y="3378541"/>
          <a:ext cx="467239" cy="46723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721C51-5E12-4550-9CC9-72BBC5021222}">
      <dsp:nvSpPr>
        <dsp:cNvPr id="0" name=""/>
        <dsp:cNvSpPr/>
      </dsp:nvSpPr>
      <dsp:spPr>
        <a:xfrm>
          <a:off x="981202" y="3187398"/>
          <a:ext cx="4442791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Repræsentantskabsmødet den </a:t>
          </a:r>
          <a:r>
            <a:rPr lang="da-DK" sz="2100" b="1" kern="1200"/>
            <a:t>16.05.2024</a:t>
          </a:r>
          <a:endParaRPr lang="en-US" sz="2100" kern="1200"/>
        </a:p>
      </dsp:txBody>
      <dsp:txXfrm>
        <a:off x="981202" y="3187398"/>
        <a:ext cx="4442791" cy="849525"/>
      </dsp:txXfrm>
    </dsp:sp>
    <dsp:sp modelId="{35F8247E-6B84-4C27-9156-D3A53C596D9D}">
      <dsp:nvSpPr>
        <dsp:cNvPr id="0" name=""/>
        <dsp:cNvSpPr/>
      </dsp:nvSpPr>
      <dsp:spPr>
        <a:xfrm>
          <a:off x="5423994" y="3187398"/>
          <a:ext cx="4448876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Præsentation af tidsplan, økonomi, opgaver </a:t>
          </a:r>
          <a:endParaRPr lang="en-US" sz="1600" kern="1200"/>
        </a:p>
      </dsp:txBody>
      <dsp:txXfrm>
        <a:off x="5423994" y="3187398"/>
        <a:ext cx="4448876" cy="8495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CCA31-538C-449F-9FEB-C34CD4186A16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ACC7EE-7AC9-4311-A270-A4AD0C1E2189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588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86520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3D47E4-9764-45CB-BF73-267A0C551799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4053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9443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4742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95199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4467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33966" cy="3727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42842" y="0"/>
            <a:ext cx="3933966" cy="3727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58988" y="557213"/>
            <a:ext cx="4960937" cy="2790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07839" y="3534551"/>
            <a:ext cx="7262707" cy="33498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069103"/>
            <a:ext cx="3933966" cy="3710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42842" y="7069103"/>
            <a:ext cx="3933966" cy="3710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8CB333-9E3A-4471-A2E7-1871D39D612E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26846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/>
              <a:t>Driftsklargørelse:</a:t>
            </a:r>
          </a:p>
          <a:p>
            <a:pPr marL="171450" indent="-171450">
              <a:buFontTx/>
              <a:buChar char="-"/>
            </a:pPr>
            <a:r>
              <a:rPr lang="da-DK"/>
              <a:t>Klargørelse af ProKom</a:t>
            </a:r>
          </a:p>
          <a:p>
            <a:pPr marL="171450" indent="-171450">
              <a:buFontTx/>
              <a:buChar char="-"/>
            </a:pPr>
            <a:r>
              <a:rPr lang="da-DK"/>
              <a:t>Kvalitetssikring af ProKom</a:t>
            </a:r>
          </a:p>
          <a:p>
            <a:pPr marL="171450" indent="-171450">
              <a:buFontTx/>
              <a:buChar char="-"/>
            </a:pPr>
            <a:r>
              <a:rPr lang="da-DK"/>
              <a:t>Installation af Script </a:t>
            </a:r>
          </a:p>
          <a:p>
            <a:pPr marL="0" indent="0">
              <a:buFontTx/>
              <a:buNone/>
            </a:pPr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61304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En måned til </a:t>
            </a:r>
            <a:r>
              <a:rPr lang="da-DK" err="1"/>
              <a:t>hypercare</a:t>
            </a:r>
            <a:r>
              <a:rPr lang="da-DK"/>
              <a:t>:  Monitorering, Træning, Fejlretning</a:t>
            </a:r>
          </a:p>
          <a:p>
            <a:pPr marL="171450" indent="-171450">
              <a:buFontTx/>
              <a:buChar char="-"/>
            </a:pPr>
            <a:r>
              <a:rPr lang="da-DK"/>
              <a:t>Læse samtaler for at sikre chatbottens forståelse af borgernes spørgsmå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/>
              <a:t>Læse samtaler for at sikre borgernes forståelse af svar og flow</a:t>
            </a:r>
          </a:p>
          <a:p>
            <a:pPr marL="171450" indent="-171450">
              <a:buFontTx/>
              <a:buChar char="-"/>
            </a:pPr>
            <a:r>
              <a:rPr lang="da-DK"/>
              <a:t>Træning og fejlretning baseret på manglende forståelse</a:t>
            </a:r>
          </a:p>
          <a:p>
            <a:pPr marL="171450" indent="-171450">
              <a:buFontTx/>
              <a:buChar char="-"/>
            </a:pPr>
            <a:r>
              <a:rPr lang="da-DK"/>
              <a:t>Holde øje med integrationerne – virker de? Kan borgerne gennemføre flows?</a:t>
            </a:r>
          </a:p>
          <a:p>
            <a:pPr marL="171450" indent="-171450">
              <a:buFontTx/>
              <a:buChar char="-"/>
            </a:pPr>
            <a:endParaRPr lang="da-DK"/>
          </a:p>
          <a:p>
            <a:r>
              <a:rPr lang="da-DK"/>
              <a:t>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1495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02718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09831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Pris per </a:t>
            </a:r>
            <a:r>
              <a:rPr lang="da-DK" err="1"/>
              <a:t>token</a:t>
            </a:r>
            <a:r>
              <a:rPr lang="da-DK"/>
              <a:t>:</a:t>
            </a:r>
          </a:p>
          <a:p>
            <a:r>
              <a:rPr lang="da-DK"/>
              <a:t>Input: 0,00000516</a:t>
            </a:r>
          </a:p>
          <a:p>
            <a:r>
              <a:rPr lang="da-DK"/>
              <a:t>Output: 0,00000688</a:t>
            </a:r>
          </a:p>
          <a:p>
            <a:endParaRPr lang="da-DK"/>
          </a:p>
          <a:p>
            <a:r>
              <a:rPr lang="da-DK"/>
              <a:t>Total:</a:t>
            </a:r>
          </a:p>
          <a:p>
            <a:r>
              <a:rPr lang="da-DK"/>
              <a:t>Input: 11 x 0,00000516</a:t>
            </a:r>
          </a:p>
          <a:p>
            <a:r>
              <a:rPr lang="da-DK"/>
              <a:t>Output: 195 x 0,00000688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24387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3363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DCEB2-7E34-FC2B-77C7-6DB287182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AE90E33D-D78A-0214-D86D-826DD68D1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9D9A79A-0592-3E9A-4BB9-257663114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B866202-0944-C1A0-4A0B-6F60270BE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0FB4461-657E-15BA-4768-F32B04322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4737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89F15D-61C2-8718-CCF5-14B9762F0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3367142-47A8-366A-7A1C-CF2C68DF18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E5823D1-5934-5A35-6918-C33496F49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491D65-0669-CC40-35FD-B7FF53660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4E6B940-F9F9-E3A1-A23B-B5140FEE0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87700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B73734FD-472B-3962-1EA1-B9D3497AA9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11BCEE0C-CA1C-1317-B7CE-19A794FCC6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0D17658-0201-ADE4-96C3-9ACB74AE6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F35B8FC-B5DE-CE1C-2C0D-85ED3B829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3015043-CD7C-84DB-ACF4-9DEB56930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18148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Single Colum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FD6101-5AFD-963A-5524-94A2B745C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95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D6101-5AFD-963A-5524-94A2B745C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CFA4A2D-5026-7C4E-B3F3-6AB9E90B28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4AEF51-FE37-F2E6-86F1-D0D8D15E337B}"/>
              </a:ext>
            </a:extLst>
          </p:cNvPr>
          <p:cNvSpPr/>
          <p:nvPr userDrawn="1"/>
        </p:nvSpPr>
        <p:spPr>
          <a:xfrm>
            <a:off x="-1" y="-1"/>
            <a:ext cx="1219199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1EB605B-05F8-BC4D-8550-967B86B402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626" y="641212"/>
            <a:ext cx="10894690" cy="396171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500" b="0" i="0">
                <a:solidFill>
                  <a:srgbClr val="014F5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967FFE2-6B16-9E4E-A78F-E72031CD9F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626" y="1334359"/>
            <a:ext cx="10894690" cy="344236"/>
          </a:xfrm>
        </p:spPr>
        <p:txBody>
          <a:bodyPr anchor="t"/>
          <a:lstStyle>
            <a:lvl1pPr algn="l">
              <a:lnSpc>
                <a:spcPct val="110000"/>
              </a:lnSpc>
              <a:spcBef>
                <a:spcPts val="0"/>
              </a:spcBef>
              <a:defRPr sz="1200" b="1" i="1" spc="120" baseline="0">
                <a:solidFill>
                  <a:srgbClr val="014F59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5D941B-2648-E943-8135-2B2A53A169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6" y="1719369"/>
            <a:ext cx="10894690" cy="4184126"/>
          </a:xfrm>
        </p:spPr>
        <p:txBody>
          <a:bodyPr anchor="t"/>
          <a:lstStyle>
            <a:lvl1pPr marL="171450" indent="-1714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spc="0" baseline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0C5B790-4921-B190-EAD4-BB9D8EA5888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79208" y="6431463"/>
            <a:ext cx="126638" cy="123111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n-US" kern="0" smtClean="0">
                <a:latin typeface="Open Sans"/>
                <a:ea typeface="Open Sans"/>
                <a:cs typeface="Open Sans"/>
                <a:sym typeface="Open Sans"/>
              </a:rPr>
              <a:pPr hangingPunct="0">
                <a:defRPr/>
              </a:pPr>
              <a:t>‹#›</a:t>
            </a:fld>
            <a:endParaRPr lang="en-US" kern="0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1337E9-5232-18DF-561C-78E36C14FD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5625" y="176721"/>
            <a:ext cx="893566" cy="39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0153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 Column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952D94-D439-214B-9BA1-9B4BD7BCD7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4AC6E024-C6DF-514A-91C4-EC644F6B6A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2644" y="1639401"/>
            <a:ext cx="4870063" cy="215901"/>
          </a:xfrm>
        </p:spPr>
        <p:txBody>
          <a:bodyPr anchor="ctr"/>
          <a:lstStyle>
            <a:lvl1pPr algn="l">
              <a:lnSpc>
                <a:spcPct val="80000"/>
              </a:lnSpc>
              <a:spcBef>
                <a:spcPts val="0"/>
              </a:spcBef>
              <a:defRPr sz="1200" b="1" i="1" spc="0" baseline="0">
                <a:solidFill>
                  <a:srgbClr val="E3E48D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B23CD98-0F03-9A4E-BB6A-3A9E4BA96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2644" y="324632"/>
            <a:ext cx="5133356" cy="979487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b="0" i="0" spc="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3F96A735-3263-8545-8D3F-67EC9A9C62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2644" y="1955451"/>
            <a:ext cx="4991589" cy="3372946"/>
          </a:xfrm>
        </p:spPr>
        <p:txBody>
          <a:bodyPr anchor="t"/>
          <a:lstStyle>
            <a:lvl1pPr marL="171450" indent="-1714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FC5F0440-A7C1-7F40-BC87-44CB004F35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37768" y="1955451"/>
            <a:ext cx="4991589" cy="3372946"/>
          </a:xfrm>
        </p:spPr>
        <p:txBody>
          <a:bodyPr anchor="t"/>
          <a:lstStyle>
            <a:lvl1pPr marL="171450" indent="-1714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</p:spTree>
    <p:extLst>
      <p:ext uri="{BB962C8B-B14F-4D97-AF65-F5344CB8AC3E}">
        <p14:creationId xmlns:p14="http://schemas.microsoft.com/office/powerpoint/2010/main" val="316167342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6DB59-A559-4853-901B-31CCEF4DED73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A2498-62E0-49CB-9A4E-4DE023FE7ACC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8186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763A-941C-E4CD-7BED-4D017F2A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57F4051-F450-E17F-B1B6-4DBF1FC7E6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F735605-CBB7-C6D9-50CB-B103B3AF0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D86CD46-6781-B37C-6868-45E6878FA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53ACE36-BC6F-78E2-6F0C-F4136DA48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69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0E1868-6210-1BEF-A2CB-5C8B6E593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2F2B547-ADB1-CF3B-5D36-79488690F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644FC6C-26DC-5985-D5EE-0E7850616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F34F742-36A1-71C3-5468-3808DBEE9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28DC6F-F132-88AD-1255-AE53C5141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6474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810F3B-0BD8-8E68-0E77-27D7C9DF7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BD1F03F-1012-43CE-F03C-CEAEC82098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1FBBDD9-98E4-A90A-3746-F77DDCE038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9E15305-3B00-4F76-C7BF-3B3A0176D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4A676BA-03FF-9E23-46A0-69389C5FE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1415D05-8DC6-9FEA-42EA-101F8A14E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6546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11C412-1B95-6B1C-FD67-5C43EF80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2AE3CB4-CC66-6462-767A-FB00284D2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0026C49-C818-388B-E47F-6C3D3B4085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88D3E2-8D4B-EFEF-88DA-6AF414C452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0CB344E-6D97-4FBD-3DF6-BDCE742574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CEA014C-7D4F-1B53-EE7C-38104F2F6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5BA63FD-7CDE-76EC-D78A-C0D83A398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4E5E21B-4216-06EA-1182-5204D4F99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8853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8234FB-2197-150D-CBF5-CD7C3CB79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F27DAB3-9F85-395E-27FD-69F100A9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B2E3C74-B2DF-1335-88D9-E07264031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F485211-8377-2427-3A3A-7AD66AE7F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5732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AA9A22A-257B-86CE-401D-7FA4FA85B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3564E1C-6B1F-BC8D-4202-2E17C0BE9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32501B0-D345-BCFE-6924-5B74EBED2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5409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17C2D-7024-F909-B90C-7A81B25C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86559F3-C3BE-2AA7-EB2B-08DAC3568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8213B59-5CA6-69BD-14B7-73F1E2624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37A9762-7640-0CEA-7636-6125C4A995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D12BBEE-B1B4-BA65-3174-1471BE1D0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0F8E0C0-0D47-429F-8248-2D850954E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4198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EB962F-77CD-8FC8-59DF-26F6D1E00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912C08F3-7ED5-2525-084C-5CE659304C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EC6B0E-0532-3632-C0D2-484D90822A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0CF1425-1FE2-4C55-ADB3-275E17E3E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77EE2CC-7CA9-B4B5-F399-1FFC22CC0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BE25E53-5ED0-C2DF-8266-7CACAD16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394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102D957C-9F17-2818-533D-B7443171D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823E4C3-2678-59B5-53D0-574DD0783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DBBD9B-ACF0-2330-9DE2-39EE41651C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375726C-7F8D-4E94-A0BE-4AE5EEF2E8F1}" type="datetimeFigureOut">
              <a:rPr lang="da-DK" smtClean="0"/>
              <a:t>26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44E8B90-FF27-3F47-ED24-99231B429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9BAEF2B-366D-5AFF-6A75-E645D74A7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F6116A0-0322-40CB-83A9-60752F384E4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089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1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3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6.png"/><Relationship Id="rId7" Type="http://schemas.openxmlformats.org/officeDocument/2006/relationships/image" Target="../media/image10.sv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50.svg"/><Relationship Id="rId5" Type="http://schemas.openxmlformats.org/officeDocument/2006/relationships/image" Target="../media/image48.svg"/><Relationship Id="rId10" Type="http://schemas.openxmlformats.org/officeDocument/2006/relationships/image" Target="../media/image49.png"/><Relationship Id="rId4" Type="http://schemas.openxmlformats.org/officeDocument/2006/relationships/image" Target="../media/image47.svg"/><Relationship Id="rId9" Type="http://schemas.openxmlformats.org/officeDocument/2006/relationships/image" Target="../media/image1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5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5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60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5.png"/><Relationship Id="rId7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16.svg"/><Relationship Id="rId9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0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diagramColors" Target="../diagrams/colors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11.png"/><Relationship Id="rId10" Type="http://schemas.openxmlformats.org/officeDocument/2006/relationships/diagramLayout" Target="../diagrams/layout1.xml"/><Relationship Id="rId4" Type="http://schemas.openxmlformats.org/officeDocument/2006/relationships/image" Target="../media/image10.svg"/><Relationship Id="rId9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microsoft.com/office/2007/relationships/diagramDrawing" Target="../diagrams/drawing2.xml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diagramColors" Target="../diagrams/colors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11" Type="http://schemas.openxmlformats.org/officeDocument/2006/relationships/diagramQuickStyle" Target="../diagrams/quickStyle2.xml"/><Relationship Id="rId5" Type="http://schemas.openxmlformats.org/officeDocument/2006/relationships/image" Target="../media/image11.png"/><Relationship Id="rId10" Type="http://schemas.openxmlformats.org/officeDocument/2006/relationships/diagramLayout" Target="../diagrams/layout2.xml"/><Relationship Id="rId4" Type="http://schemas.openxmlformats.org/officeDocument/2006/relationships/image" Target="../media/image10.svg"/><Relationship Id="rId9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Relationship Id="rId9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1AF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8618818" y="-575069"/>
            <a:ext cx="3794025" cy="7533267"/>
            <a:chOff x="0" y="0"/>
            <a:chExt cx="1498874" cy="2976105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98874" cy="2976105"/>
            </a:xfrm>
            <a:custGeom>
              <a:avLst/>
              <a:gdLst/>
              <a:ahLst/>
              <a:cxnLst/>
              <a:rect l="l" t="t" r="r" b="b"/>
              <a:pathLst>
                <a:path w="1498874" h="2976105">
                  <a:moveTo>
                    <a:pt x="0" y="0"/>
                  </a:moveTo>
                  <a:lnTo>
                    <a:pt x="1498874" y="0"/>
                  </a:lnTo>
                  <a:lnTo>
                    <a:pt x="1498874" y="2976105"/>
                  </a:lnTo>
                  <a:lnTo>
                    <a:pt x="0" y="297610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19050"/>
              <a:ext cx="1498874" cy="299515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-1028700" y="-372146"/>
            <a:ext cx="2057400" cy="7533267"/>
            <a:chOff x="0" y="0"/>
            <a:chExt cx="812800" cy="297610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2976105"/>
            </a:xfrm>
            <a:custGeom>
              <a:avLst/>
              <a:gdLst/>
              <a:ahLst/>
              <a:cxnLst/>
              <a:rect l="l" t="t" r="r" b="b"/>
              <a:pathLst>
                <a:path w="812800" h="2976105">
                  <a:moveTo>
                    <a:pt x="0" y="0"/>
                  </a:moveTo>
                  <a:lnTo>
                    <a:pt x="812800" y="0"/>
                  </a:lnTo>
                  <a:lnTo>
                    <a:pt x="812800" y="2976105"/>
                  </a:lnTo>
                  <a:lnTo>
                    <a:pt x="0" y="2976105"/>
                  </a:lnTo>
                  <a:close/>
                </a:path>
              </a:pathLst>
            </a:custGeom>
            <a:solidFill>
              <a:srgbClr val="1C5739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19050"/>
              <a:ext cx="812800" cy="299515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8" name="Freeform 8"/>
          <p:cNvSpPr/>
          <p:nvPr/>
        </p:nvSpPr>
        <p:spPr>
          <a:xfrm>
            <a:off x="8839952" y="1481462"/>
            <a:ext cx="3037655" cy="3826054"/>
          </a:xfrm>
          <a:custGeom>
            <a:avLst/>
            <a:gdLst/>
            <a:ahLst/>
            <a:cxnLst/>
            <a:rect l="l" t="t" r="r" b="b"/>
            <a:pathLst>
              <a:path w="4556482" h="5739081">
                <a:moveTo>
                  <a:pt x="0" y="0"/>
                </a:moveTo>
                <a:lnTo>
                  <a:pt x="4556482" y="0"/>
                </a:lnTo>
                <a:lnTo>
                  <a:pt x="4556482" y="5739081"/>
                </a:lnTo>
                <a:lnTo>
                  <a:pt x="0" y="573908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9" name="Freeform 9"/>
          <p:cNvSpPr/>
          <p:nvPr/>
        </p:nvSpPr>
        <p:spPr>
          <a:xfrm>
            <a:off x="-750958" y="1576036"/>
            <a:ext cx="11591702" cy="5196948"/>
          </a:xfrm>
          <a:custGeom>
            <a:avLst/>
            <a:gdLst/>
            <a:ahLst/>
            <a:cxnLst/>
            <a:rect l="l" t="t" r="r" b="b"/>
            <a:pathLst>
              <a:path w="17387553" h="12286929">
                <a:moveTo>
                  <a:pt x="0" y="0"/>
                </a:moveTo>
                <a:lnTo>
                  <a:pt x="17387553" y="0"/>
                </a:lnTo>
                <a:lnTo>
                  <a:pt x="17387553" y="12286929"/>
                </a:lnTo>
                <a:lnTo>
                  <a:pt x="0" y="12286929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alphaModFix amt="19999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t="1" b="-5761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extBox 10"/>
          <p:cNvSpPr txBox="1"/>
          <p:nvPr/>
        </p:nvSpPr>
        <p:spPr>
          <a:xfrm>
            <a:off x="1168619" y="890656"/>
            <a:ext cx="10836051" cy="24410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6293"/>
              </a:lnSpc>
            </a:pPr>
            <a:r>
              <a:rPr lang="en-US" sz="6556" b="1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DEN FÆLLES-</a:t>
            </a:r>
          </a:p>
          <a:p>
            <a:pPr algn="l">
              <a:lnSpc>
                <a:spcPts val="6293"/>
              </a:lnSpc>
            </a:pPr>
            <a:r>
              <a:rPr lang="en-US" sz="6556" b="1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KOMUNALE </a:t>
            </a:r>
          </a:p>
          <a:p>
            <a:pPr algn="l">
              <a:lnSpc>
                <a:spcPts val="6293"/>
              </a:lnSpc>
            </a:pPr>
            <a:r>
              <a:rPr lang="en-US" sz="6556" b="1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CHATBOT MUNI</a:t>
            </a:r>
          </a:p>
        </p:txBody>
      </p:sp>
    </p:spTree>
    <p:extLst>
      <p:ext uri="{BB962C8B-B14F-4D97-AF65-F5344CB8AC3E}">
        <p14:creationId xmlns:p14="http://schemas.microsoft.com/office/powerpoint/2010/main" val="1372728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Lige forbindelse 50">
            <a:extLst>
              <a:ext uri="{FF2B5EF4-FFF2-40B4-BE49-F238E27FC236}">
                <a16:creationId xmlns:a16="http://schemas.microsoft.com/office/drawing/2014/main" id="{C9394A83-6EE4-B420-F77C-87F5813A9B1F}"/>
              </a:ext>
            </a:extLst>
          </p:cNvPr>
          <p:cNvCxnSpPr>
            <a:cxnSpLocks/>
          </p:cNvCxnSpPr>
          <p:nvPr/>
        </p:nvCxnSpPr>
        <p:spPr>
          <a:xfrm>
            <a:off x="10082790" y="1121671"/>
            <a:ext cx="0" cy="5097480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Lige forbindelse 2">
            <a:extLst>
              <a:ext uri="{FF2B5EF4-FFF2-40B4-BE49-F238E27FC236}">
                <a16:creationId xmlns:a16="http://schemas.microsoft.com/office/drawing/2014/main" id="{D7B0001B-5356-EE04-B7A0-F3D84497BF42}"/>
              </a:ext>
            </a:extLst>
          </p:cNvPr>
          <p:cNvCxnSpPr>
            <a:cxnSpLocks/>
            <a:stCxn id="4" idx="2"/>
          </p:cNvCxnSpPr>
          <p:nvPr/>
        </p:nvCxnSpPr>
        <p:spPr>
          <a:xfrm>
            <a:off x="4896063" y="1142572"/>
            <a:ext cx="531" cy="5095935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2490C1A0-5611-3F8E-689C-44CC8DB127BC}"/>
              </a:ext>
            </a:extLst>
          </p:cNvPr>
          <p:cNvSpPr/>
          <p:nvPr/>
        </p:nvSpPr>
        <p:spPr>
          <a:xfrm>
            <a:off x="11765" y="2877426"/>
            <a:ext cx="2336800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/>
              <a:t>Afklaring</a:t>
            </a:r>
          </a:p>
        </p:txBody>
      </p:sp>
      <p:sp>
        <p:nvSpPr>
          <p:cNvPr id="10" name="Rektangel: afrundede hjørner 9">
            <a:extLst>
              <a:ext uri="{FF2B5EF4-FFF2-40B4-BE49-F238E27FC236}">
                <a16:creationId xmlns:a16="http://schemas.microsoft.com/office/drawing/2014/main" id="{BC822045-08E6-488A-A0CC-EB477A7A5183}"/>
              </a:ext>
            </a:extLst>
          </p:cNvPr>
          <p:cNvSpPr/>
          <p:nvPr/>
        </p:nvSpPr>
        <p:spPr>
          <a:xfrm>
            <a:off x="34698" y="3719634"/>
            <a:ext cx="6505815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/>
              <a:t>Etablering inkl. migrering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1E08C117-94DF-389C-21C0-5ECBFED65F1B}"/>
              </a:ext>
            </a:extLst>
          </p:cNvPr>
          <p:cNvSpPr/>
          <p:nvPr/>
        </p:nvSpPr>
        <p:spPr>
          <a:xfrm>
            <a:off x="5943602" y="4523778"/>
            <a:ext cx="4521198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/>
              <a:t>Funktionsprøve </a:t>
            </a:r>
          </a:p>
        </p:txBody>
      </p:sp>
      <p:sp>
        <p:nvSpPr>
          <p:cNvPr id="12" name="Pil: nedad 11">
            <a:extLst>
              <a:ext uri="{FF2B5EF4-FFF2-40B4-BE49-F238E27FC236}">
                <a16:creationId xmlns:a16="http://schemas.microsoft.com/office/drawing/2014/main" id="{68F69966-4E6D-5A86-7ACD-2B0E1B06DEB5}"/>
              </a:ext>
            </a:extLst>
          </p:cNvPr>
          <p:cNvSpPr/>
          <p:nvPr/>
        </p:nvSpPr>
        <p:spPr>
          <a:xfrm>
            <a:off x="2793175" y="2873336"/>
            <a:ext cx="502852" cy="751127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F2CF0261-2D81-970B-5655-5DEABB64ACD8}"/>
              </a:ext>
            </a:extLst>
          </p:cNvPr>
          <p:cNvCxnSpPr>
            <a:cxnSpLocks/>
          </p:cNvCxnSpPr>
          <p:nvPr/>
        </p:nvCxnSpPr>
        <p:spPr>
          <a:xfrm>
            <a:off x="605641" y="6238507"/>
            <a:ext cx="111746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DA228881-C4B4-1043-B823-3ECD1BF95B24}"/>
              </a:ext>
            </a:extLst>
          </p:cNvPr>
          <p:cNvCxnSpPr>
            <a:cxnSpLocks/>
          </p:cNvCxnSpPr>
          <p:nvPr/>
        </p:nvCxnSpPr>
        <p:spPr>
          <a:xfrm>
            <a:off x="605641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2C32BBDE-BACE-81BF-5CCA-F3E1B8564961}"/>
              </a:ext>
            </a:extLst>
          </p:cNvPr>
          <p:cNvCxnSpPr>
            <a:cxnSpLocks/>
          </p:cNvCxnSpPr>
          <p:nvPr/>
        </p:nvCxnSpPr>
        <p:spPr>
          <a:xfrm>
            <a:off x="3357550" y="613008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308CB562-DA0C-F02F-CAD0-BF8D01323FA9}"/>
              </a:ext>
            </a:extLst>
          </p:cNvPr>
          <p:cNvCxnSpPr>
            <a:cxnSpLocks/>
          </p:cNvCxnSpPr>
          <p:nvPr/>
        </p:nvCxnSpPr>
        <p:spPr>
          <a:xfrm>
            <a:off x="4896063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8C28C74B-0392-92EB-10E4-0CBF551C4898}"/>
              </a:ext>
            </a:extLst>
          </p:cNvPr>
          <p:cNvCxnSpPr>
            <a:cxnSpLocks/>
          </p:cNvCxnSpPr>
          <p:nvPr/>
        </p:nvCxnSpPr>
        <p:spPr>
          <a:xfrm>
            <a:off x="6540513" y="6149442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AD4A32D9-08F7-3547-75EE-F318936F264D}"/>
              </a:ext>
            </a:extLst>
          </p:cNvPr>
          <p:cNvCxnSpPr>
            <a:cxnSpLocks/>
          </p:cNvCxnSpPr>
          <p:nvPr/>
        </p:nvCxnSpPr>
        <p:spPr>
          <a:xfrm>
            <a:off x="8268194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D50174A9-94D4-FB8D-DEEA-A71AB3153F5F}"/>
              </a:ext>
            </a:extLst>
          </p:cNvPr>
          <p:cNvCxnSpPr>
            <a:cxnSpLocks/>
          </p:cNvCxnSpPr>
          <p:nvPr/>
        </p:nvCxnSpPr>
        <p:spPr>
          <a:xfrm>
            <a:off x="10083140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kstfelt 28">
            <a:extLst>
              <a:ext uri="{FF2B5EF4-FFF2-40B4-BE49-F238E27FC236}">
                <a16:creationId xmlns:a16="http://schemas.microsoft.com/office/drawing/2014/main" id="{2DA88D78-21AF-C8B9-CED8-B8BC87F07BDB}"/>
              </a:ext>
            </a:extLst>
          </p:cNvPr>
          <p:cNvSpPr txBox="1"/>
          <p:nvPr/>
        </p:nvSpPr>
        <p:spPr>
          <a:xfrm>
            <a:off x="273133" y="6350320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01/11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2E1417FE-01AA-BBD2-49B2-F22C9504810D}"/>
              </a:ext>
            </a:extLst>
          </p:cNvPr>
          <p:cNvSpPr txBox="1"/>
          <p:nvPr/>
        </p:nvSpPr>
        <p:spPr>
          <a:xfrm>
            <a:off x="4481617" y="6350482"/>
            <a:ext cx="96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15/12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6EDE4B10-5887-14C8-C2A3-53C8E9718CE8}"/>
              </a:ext>
            </a:extLst>
          </p:cNvPr>
          <p:cNvSpPr txBox="1"/>
          <p:nvPr/>
        </p:nvSpPr>
        <p:spPr>
          <a:xfrm>
            <a:off x="6195578" y="6350320"/>
            <a:ext cx="8698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01/01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AACE32D3-D308-DE02-B8B6-09AEB5066A8E}"/>
              </a:ext>
            </a:extLst>
          </p:cNvPr>
          <p:cNvSpPr txBox="1"/>
          <p:nvPr/>
        </p:nvSpPr>
        <p:spPr>
          <a:xfrm>
            <a:off x="7927151" y="6354212"/>
            <a:ext cx="869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15/01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5B46C359-B129-20FD-45D9-5C7B8644A00A}"/>
              </a:ext>
            </a:extLst>
          </p:cNvPr>
          <p:cNvSpPr txBox="1"/>
          <p:nvPr/>
        </p:nvSpPr>
        <p:spPr>
          <a:xfrm>
            <a:off x="9695191" y="6350320"/>
            <a:ext cx="1008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01/02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F0D159D-9E56-4362-141D-A58174816D22}"/>
              </a:ext>
            </a:extLst>
          </p:cNvPr>
          <p:cNvSpPr txBox="1"/>
          <p:nvPr/>
        </p:nvSpPr>
        <p:spPr>
          <a:xfrm>
            <a:off x="11078091" y="6341878"/>
            <a:ext cx="86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15/02</a:t>
            </a: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1D0E33F9-AA1B-BF85-715B-09979D5B291B}"/>
              </a:ext>
            </a:extLst>
          </p:cNvPr>
          <p:cNvSpPr txBox="1"/>
          <p:nvPr/>
        </p:nvSpPr>
        <p:spPr>
          <a:xfrm>
            <a:off x="2952607" y="6350482"/>
            <a:ext cx="96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01/12</a:t>
            </a:r>
          </a:p>
        </p:txBody>
      </p:sp>
      <p:cxnSp>
        <p:nvCxnSpPr>
          <p:cNvPr id="37" name="Lige forbindelse 36">
            <a:extLst>
              <a:ext uri="{FF2B5EF4-FFF2-40B4-BE49-F238E27FC236}">
                <a16:creationId xmlns:a16="http://schemas.microsoft.com/office/drawing/2014/main" id="{B2D8DFB7-0659-8B90-ED56-82F92B8BBDF8}"/>
              </a:ext>
            </a:extLst>
          </p:cNvPr>
          <p:cNvCxnSpPr>
            <a:cxnSpLocks/>
          </p:cNvCxnSpPr>
          <p:nvPr/>
        </p:nvCxnSpPr>
        <p:spPr>
          <a:xfrm>
            <a:off x="1947809" y="613953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kstfelt 37">
            <a:extLst>
              <a:ext uri="{FF2B5EF4-FFF2-40B4-BE49-F238E27FC236}">
                <a16:creationId xmlns:a16="http://schemas.microsoft.com/office/drawing/2014/main" id="{474D3AEC-170F-3EBC-0C93-4F2DB8D5D46D}"/>
              </a:ext>
            </a:extLst>
          </p:cNvPr>
          <p:cNvSpPr txBox="1"/>
          <p:nvPr/>
        </p:nvSpPr>
        <p:spPr>
          <a:xfrm>
            <a:off x="1590181" y="6350482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15/11</a:t>
            </a:r>
          </a:p>
        </p:txBody>
      </p: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A1FC200D-36D0-435B-BB42-5F452A745FC6}"/>
              </a:ext>
            </a:extLst>
          </p:cNvPr>
          <p:cNvCxnSpPr>
            <a:cxnSpLocks/>
            <a:stCxn id="43" idx="2"/>
          </p:cNvCxnSpPr>
          <p:nvPr/>
        </p:nvCxnSpPr>
        <p:spPr>
          <a:xfrm>
            <a:off x="2371700" y="2511237"/>
            <a:ext cx="7180" cy="3727270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kstfelt 42">
            <a:extLst>
              <a:ext uri="{FF2B5EF4-FFF2-40B4-BE49-F238E27FC236}">
                <a16:creationId xmlns:a16="http://schemas.microsoft.com/office/drawing/2014/main" id="{CF44E6EA-7B48-D893-E41B-0A95052DAF87}"/>
              </a:ext>
            </a:extLst>
          </p:cNvPr>
          <p:cNvSpPr txBox="1"/>
          <p:nvPr/>
        </p:nvSpPr>
        <p:spPr>
          <a:xfrm>
            <a:off x="1377790" y="1587907"/>
            <a:ext cx="19878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/>
              <a:t>Godkendt  Afklaringsrapport</a:t>
            </a:r>
          </a:p>
          <a:p>
            <a:pPr algn="ctr"/>
            <a:r>
              <a:rPr lang="da-DK"/>
              <a:t>18/11</a:t>
            </a:r>
          </a:p>
        </p:txBody>
      </p:sp>
      <p:sp>
        <p:nvSpPr>
          <p:cNvPr id="50" name="Rektangel: afrundede hjørner 49">
            <a:extLst>
              <a:ext uri="{FF2B5EF4-FFF2-40B4-BE49-F238E27FC236}">
                <a16:creationId xmlns:a16="http://schemas.microsoft.com/office/drawing/2014/main" id="{8ED8BEE7-6B15-D3C3-E04C-E05741D554F9}"/>
              </a:ext>
            </a:extLst>
          </p:cNvPr>
          <p:cNvSpPr/>
          <p:nvPr/>
        </p:nvSpPr>
        <p:spPr>
          <a:xfrm>
            <a:off x="9118932" y="5358733"/>
            <a:ext cx="2661390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400"/>
              <a:t>Driftsklargørelse</a:t>
            </a:r>
          </a:p>
        </p:txBody>
      </p:sp>
      <p:sp>
        <p:nvSpPr>
          <p:cNvPr id="55" name="Tekstfelt 54">
            <a:extLst>
              <a:ext uri="{FF2B5EF4-FFF2-40B4-BE49-F238E27FC236}">
                <a16:creationId xmlns:a16="http://schemas.microsoft.com/office/drawing/2014/main" id="{8F80CB54-4596-4D66-E4E0-B1FC294CDF58}"/>
              </a:ext>
            </a:extLst>
          </p:cNvPr>
          <p:cNvSpPr txBox="1"/>
          <p:nvPr/>
        </p:nvSpPr>
        <p:spPr>
          <a:xfrm>
            <a:off x="2050514" y="2500955"/>
            <a:ext cx="1987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b="1">
                <a:solidFill>
                  <a:srgbClr val="FF0000"/>
                </a:solidFill>
              </a:rPr>
              <a:t>Vi er her!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51B09721-BA9F-D24B-3FAE-3D0E11DDADD2}"/>
              </a:ext>
            </a:extLst>
          </p:cNvPr>
          <p:cNvSpPr txBox="1"/>
          <p:nvPr/>
        </p:nvSpPr>
        <p:spPr>
          <a:xfrm>
            <a:off x="3902153" y="219242"/>
            <a:ext cx="19878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/>
              <a:t>Samarbejdsaftale inklusiv DBA</a:t>
            </a:r>
          </a:p>
          <a:p>
            <a:pPr algn="ctr"/>
            <a:r>
              <a:rPr lang="da-DK"/>
              <a:t>udsende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0FF6D64-C22D-EB41-AE0E-261A6CEDE445}"/>
              </a:ext>
            </a:extLst>
          </p:cNvPr>
          <p:cNvSpPr txBox="1"/>
          <p:nvPr/>
        </p:nvSpPr>
        <p:spPr>
          <a:xfrm>
            <a:off x="9013173" y="219242"/>
            <a:ext cx="198782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/>
              <a:t>Samarbejdsaftale inklusiv DBA</a:t>
            </a:r>
          </a:p>
          <a:p>
            <a:pPr algn="ctr"/>
            <a:r>
              <a:rPr lang="da-DK"/>
              <a:t>Underskrives 1/2</a:t>
            </a:r>
          </a:p>
        </p:txBody>
      </p:sp>
      <p:sp>
        <p:nvSpPr>
          <p:cNvPr id="53" name="Tekstfelt 52">
            <a:extLst>
              <a:ext uri="{FF2B5EF4-FFF2-40B4-BE49-F238E27FC236}">
                <a16:creationId xmlns:a16="http://schemas.microsoft.com/office/drawing/2014/main" id="{DFB0AE02-5353-36E7-66AC-1C92BB933F91}"/>
              </a:ext>
            </a:extLst>
          </p:cNvPr>
          <p:cNvSpPr txBox="1"/>
          <p:nvPr/>
        </p:nvSpPr>
        <p:spPr>
          <a:xfrm>
            <a:off x="9264011" y="2989640"/>
            <a:ext cx="1486144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/>
              <a:t>ProKom undervisning</a:t>
            </a:r>
          </a:p>
          <a:p>
            <a:pPr algn="ctr"/>
            <a:r>
              <a:rPr lang="da-DK"/>
              <a:t>Uge 5</a:t>
            </a:r>
          </a:p>
        </p:txBody>
      </p: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0888F309-D5F1-899E-388F-DE9709060E49}"/>
              </a:ext>
            </a:extLst>
          </p:cNvPr>
          <p:cNvCxnSpPr>
            <a:cxnSpLocks/>
          </p:cNvCxnSpPr>
          <p:nvPr/>
        </p:nvCxnSpPr>
        <p:spPr>
          <a:xfrm>
            <a:off x="11560310" y="3719634"/>
            <a:ext cx="0" cy="2499517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kstfelt 38">
            <a:extLst>
              <a:ext uri="{FF2B5EF4-FFF2-40B4-BE49-F238E27FC236}">
                <a16:creationId xmlns:a16="http://schemas.microsoft.com/office/drawing/2014/main" id="{78B7D049-EF55-CEBD-97AD-1BEBF07E7A3D}"/>
              </a:ext>
            </a:extLst>
          </p:cNvPr>
          <p:cNvSpPr txBox="1"/>
          <p:nvPr/>
        </p:nvSpPr>
        <p:spPr>
          <a:xfrm>
            <a:off x="10858507" y="2989640"/>
            <a:ext cx="129988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/>
              <a:t>Script installation</a:t>
            </a:r>
          </a:p>
          <a:p>
            <a:pPr algn="ctr"/>
            <a:r>
              <a:rPr lang="da-DK"/>
              <a:t>Uge 7-9</a:t>
            </a:r>
          </a:p>
        </p:txBody>
      </p:sp>
    </p:spTree>
    <p:extLst>
      <p:ext uri="{BB962C8B-B14F-4D97-AF65-F5344CB8AC3E}">
        <p14:creationId xmlns:p14="http://schemas.microsoft.com/office/powerpoint/2010/main" val="21644846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D3E567E-79C2-757E-686C-C52B1EF561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04580" y="1922659"/>
            <a:ext cx="3258844" cy="174297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200" b="1">
                <a:solidFill>
                  <a:srgbClr val="00B050"/>
                </a:solidFill>
              </a:rPr>
              <a:t>DRIFTSPRØVE</a:t>
            </a:r>
          </a:p>
          <a:p>
            <a:pPr marL="0" indent="0" algn="ctr">
              <a:buNone/>
            </a:pPr>
            <a:r>
              <a:rPr lang="da-DK" sz="3200" b="1">
                <a:solidFill>
                  <a:srgbClr val="00B050"/>
                </a:solidFill>
              </a:rPr>
              <a:t>GODKENDT </a:t>
            </a:r>
          </a:p>
          <a:p>
            <a:pPr marL="0" indent="0" algn="ctr">
              <a:buNone/>
            </a:pPr>
            <a:r>
              <a:rPr lang="da-DK" sz="3200" b="1"/>
              <a:t>20. MARTS 2025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BBF8B5A-07CC-762B-7E2B-B32499A9D996}"/>
              </a:ext>
            </a:extLst>
          </p:cNvPr>
          <p:cNvSpPr txBox="1"/>
          <p:nvPr/>
        </p:nvSpPr>
        <p:spPr>
          <a:xfrm>
            <a:off x="5182328" y="3608836"/>
            <a:ext cx="2455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/>
              <a:t>MONITORERING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BFEEA0A-1666-9436-6CB0-72CE2586A3AE}"/>
              </a:ext>
            </a:extLst>
          </p:cNvPr>
          <p:cNvSpPr txBox="1"/>
          <p:nvPr/>
        </p:nvSpPr>
        <p:spPr>
          <a:xfrm>
            <a:off x="5650648" y="4100501"/>
            <a:ext cx="15887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/>
              <a:t>TRÆNING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8CC02C75-437B-E291-E1F3-6467763329FF}"/>
              </a:ext>
            </a:extLst>
          </p:cNvPr>
          <p:cNvSpPr txBox="1"/>
          <p:nvPr/>
        </p:nvSpPr>
        <p:spPr>
          <a:xfrm>
            <a:off x="5405773" y="4658119"/>
            <a:ext cx="20785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/>
              <a:t>FEJLRETNING</a:t>
            </a:r>
          </a:p>
        </p:txBody>
      </p:sp>
      <p:cxnSp>
        <p:nvCxnSpPr>
          <p:cNvPr id="7" name="Lige pilforbindelse 6">
            <a:extLst>
              <a:ext uri="{FF2B5EF4-FFF2-40B4-BE49-F238E27FC236}">
                <a16:creationId xmlns:a16="http://schemas.microsoft.com/office/drawing/2014/main" id="{43437137-103E-92E1-9E55-CA60DEDC9D92}"/>
              </a:ext>
            </a:extLst>
          </p:cNvPr>
          <p:cNvCxnSpPr>
            <a:cxnSpLocks/>
          </p:cNvCxnSpPr>
          <p:nvPr/>
        </p:nvCxnSpPr>
        <p:spPr>
          <a:xfrm flipV="1">
            <a:off x="2112579" y="6199352"/>
            <a:ext cx="8497614" cy="286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D22147E1-5205-D794-F741-89833A9F2B2F}"/>
              </a:ext>
            </a:extLst>
          </p:cNvPr>
          <p:cNvCxnSpPr>
            <a:cxnSpLocks/>
          </p:cNvCxnSpPr>
          <p:nvPr/>
        </p:nvCxnSpPr>
        <p:spPr>
          <a:xfrm>
            <a:off x="3357550" y="613008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57680EE4-F82F-1229-8ABA-49FF4CA86F30}"/>
              </a:ext>
            </a:extLst>
          </p:cNvPr>
          <p:cNvCxnSpPr>
            <a:cxnSpLocks/>
          </p:cNvCxnSpPr>
          <p:nvPr/>
        </p:nvCxnSpPr>
        <p:spPr>
          <a:xfrm>
            <a:off x="4896063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CB537279-BCC8-CE4F-CE6E-63FE440D882C}"/>
              </a:ext>
            </a:extLst>
          </p:cNvPr>
          <p:cNvCxnSpPr>
            <a:cxnSpLocks/>
          </p:cNvCxnSpPr>
          <p:nvPr/>
        </p:nvCxnSpPr>
        <p:spPr>
          <a:xfrm>
            <a:off x="6540513" y="6149442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AE0FECEB-BEF6-586B-E398-7D3DAAC97652}"/>
              </a:ext>
            </a:extLst>
          </p:cNvPr>
          <p:cNvCxnSpPr>
            <a:cxnSpLocks/>
          </p:cNvCxnSpPr>
          <p:nvPr/>
        </p:nvCxnSpPr>
        <p:spPr>
          <a:xfrm>
            <a:off x="8268194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felt 13">
            <a:extLst>
              <a:ext uri="{FF2B5EF4-FFF2-40B4-BE49-F238E27FC236}">
                <a16:creationId xmlns:a16="http://schemas.microsoft.com/office/drawing/2014/main" id="{264447A1-8FF8-07E9-9CB0-2BAD33E07F13}"/>
              </a:ext>
            </a:extLst>
          </p:cNvPr>
          <p:cNvSpPr txBox="1"/>
          <p:nvPr/>
        </p:nvSpPr>
        <p:spPr>
          <a:xfrm>
            <a:off x="1680243" y="6345573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20/02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F6183120-E8DC-269E-438A-071DA522DBF8}"/>
              </a:ext>
            </a:extLst>
          </p:cNvPr>
          <p:cNvSpPr txBox="1"/>
          <p:nvPr/>
        </p:nvSpPr>
        <p:spPr>
          <a:xfrm>
            <a:off x="10179835" y="6371429"/>
            <a:ext cx="86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20/03</a:t>
            </a: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40388898-F659-DA8B-4D93-F4B2847C1EC8}"/>
              </a:ext>
            </a:extLst>
          </p:cNvPr>
          <p:cNvSpPr txBox="1"/>
          <p:nvPr/>
        </p:nvSpPr>
        <p:spPr>
          <a:xfrm>
            <a:off x="8212" y="1435636"/>
            <a:ext cx="452872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a-DK" sz="3600" b="1"/>
              <a:t>GO LIVE</a:t>
            </a:r>
          </a:p>
          <a:p>
            <a:pPr marL="0" indent="0" algn="ctr">
              <a:buNone/>
            </a:pPr>
            <a:r>
              <a:rPr lang="da-DK" sz="3600" b="1">
                <a:solidFill>
                  <a:srgbClr val="00B050"/>
                </a:solidFill>
              </a:rPr>
              <a:t>DRIFTSPRØVE PÅBEGYNDES</a:t>
            </a:r>
          </a:p>
          <a:p>
            <a:pPr marL="0" indent="0" algn="ctr">
              <a:buNone/>
            </a:pPr>
            <a:r>
              <a:rPr lang="da-DK" sz="3600" b="1"/>
              <a:t>20. FEBRUAR 2025</a:t>
            </a:r>
          </a:p>
        </p:txBody>
      </p: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99B05966-1C68-4AB6-105C-4A02D6278EBB}"/>
              </a:ext>
            </a:extLst>
          </p:cNvPr>
          <p:cNvCxnSpPr>
            <a:cxnSpLocks/>
          </p:cNvCxnSpPr>
          <p:nvPr/>
        </p:nvCxnSpPr>
        <p:spPr>
          <a:xfrm>
            <a:off x="2094444" y="3752768"/>
            <a:ext cx="20018" cy="2450558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18BF7AC1-B4DD-4A0A-D757-4BB42A1356E7}"/>
              </a:ext>
            </a:extLst>
          </p:cNvPr>
          <p:cNvCxnSpPr>
            <a:cxnSpLocks/>
          </p:cNvCxnSpPr>
          <p:nvPr/>
        </p:nvCxnSpPr>
        <p:spPr>
          <a:xfrm>
            <a:off x="10546011" y="3665635"/>
            <a:ext cx="0" cy="2496169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Forbindelse: buet 40">
            <a:extLst>
              <a:ext uri="{FF2B5EF4-FFF2-40B4-BE49-F238E27FC236}">
                <a16:creationId xmlns:a16="http://schemas.microsoft.com/office/drawing/2014/main" id="{5BC2C26F-DD78-7F7A-1CA0-B919DD63384A}"/>
              </a:ext>
            </a:extLst>
          </p:cNvPr>
          <p:cNvCxnSpPr>
            <a:cxnSpLocks/>
            <a:stCxn id="4" idx="3"/>
            <a:endCxn id="6" idx="3"/>
          </p:cNvCxnSpPr>
          <p:nvPr/>
        </p:nvCxnSpPr>
        <p:spPr>
          <a:xfrm flipH="1">
            <a:off x="7484291" y="3839669"/>
            <a:ext cx="153517" cy="1049283"/>
          </a:xfrm>
          <a:prstGeom prst="curvedConnector3">
            <a:avLst>
              <a:gd name="adj1" fmla="val -14890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Forbindelse: buet 42">
            <a:extLst>
              <a:ext uri="{FF2B5EF4-FFF2-40B4-BE49-F238E27FC236}">
                <a16:creationId xmlns:a16="http://schemas.microsoft.com/office/drawing/2014/main" id="{0FA7FB47-EEDD-4531-63E9-542E010D68C4}"/>
              </a:ext>
            </a:extLst>
          </p:cNvPr>
          <p:cNvCxnSpPr>
            <a:cxnSpLocks/>
            <a:stCxn id="6" idx="1"/>
            <a:endCxn id="4" idx="1"/>
          </p:cNvCxnSpPr>
          <p:nvPr/>
        </p:nvCxnSpPr>
        <p:spPr>
          <a:xfrm rot="10800000">
            <a:off x="5182329" y="3839670"/>
            <a:ext cx="223445" cy="1049283"/>
          </a:xfrm>
          <a:prstGeom prst="curvedConnector3">
            <a:avLst>
              <a:gd name="adj1" fmla="val 20230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ktangel: afrundede hjørner 54">
            <a:extLst>
              <a:ext uri="{FF2B5EF4-FFF2-40B4-BE49-F238E27FC236}">
                <a16:creationId xmlns:a16="http://schemas.microsoft.com/office/drawing/2014/main" id="{458A7845-BC91-AA1E-632C-3DE7A34049E2}"/>
              </a:ext>
            </a:extLst>
          </p:cNvPr>
          <p:cNvSpPr/>
          <p:nvPr/>
        </p:nvSpPr>
        <p:spPr>
          <a:xfrm>
            <a:off x="2152865" y="5217997"/>
            <a:ext cx="8393146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 err="1"/>
              <a:t>Hypercare</a:t>
            </a:r>
            <a:endParaRPr lang="da-DK" sz="2800"/>
          </a:p>
        </p:txBody>
      </p:sp>
    </p:spTree>
    <p:extLst>
      <p:ext uri="{BB962C8B-B14F-4D97-AF65-F5344CB8AC3E}">
        <p14:creationId xmlns:p14="http://schemas.microsoft.com/office/powerpoint/2010/main" val="3541587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/>
              <a:t>Økonomi - Torb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B08C7E4-CD58-2669-C120-F9C454DCD0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7503" y="2371263"/>
            <a:ext cx="3693162" cy="4384184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0" indent="0" algn="ctr">
              <a:buNone/>
            </a:pPr>
            <a:r>
              <a:rPr lang="da-DK" b="1"/>
              <a:t>Udbud &amp; anskaffelse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r>
              <a:rPr lang="da-DK"/>
              <a:t>Udbudsproces, advokat, GDPR, DBA, indkøbt AI-platform, afklaring &amp;  implementering. Konfiguration</a:t>
            </a:r>
          </a:p>
          <a:p>
            <a:pPr marL="0" indent="0">
              <a:buNone/>
            </a:pPr>
            <a:endParaRPr lang="da-DK"/>
          </a:p>
          <a:p>
            <a:pPr marL="0" indent="0" algn="ctr">
              <a:buNone/>
            </a:pPr>
            <a:r>
              <a:rPr lang="da-DK" sz="3600" b="1"/>
              <a:t>1,38 kr. pr. borger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Økonomi: Udbudsproces og etablering 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9B2FB722-4EFF-F376-033B-BE525CD3F462}"/>
              </a:ext>
            </a:extLst>
          </p:cNvPr>
          <p:cNvSpPr txBox="1">
            <a:spLocks/>
          </p:cNvSpPr>
          <p:nvPr/>
        </p:nvSpPr>
        <p:spPr>
          <a:xfrm>
            <a:off x="5688382" y="2388725"/>
            <a:ext cx="5741617" cy="43841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/>
              <a:t>Kommunefakturering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da-DK" b="1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/>
              <a:t>Vælg én mulighed: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da-DK"/>
          </a:p>
          <a:p>
            <a:pPr marL="514350" indent="-514350" algn="ctr">
              <a:buFont typeface="Arial" panose="020B0604020202020204" pitchFamily="34" charset="0"/>
              <a:buAutoNum type="alphaLcPeriod"/>
            </a:pPr>
            <a:r>
              <a:rPr lang="da-DK"/>
              <a:t>Hele beløbet i 2024</a:t>
            </a:r>
          </a:p>
          <a:p>
            <a:pPr marL="0" indent="0" algn="ctr">
              <a:buNone/>
            </a:pPr>
            <a:r>
              <a:rPr lang="da-DK"/>
              <a:t>b. Hele beløbet i 2025</a:t>
            </a:r>
          </a:p>
          <a:p>
            <a:pPr marL="0" indent="0" algn="ctr">
              <a:buNone/>
            </a:pPr>
            <a:r>
              <a:rPr lang="da-DK"/>
              <a:t>c. 50/50 – 2024/2025</a:t>
            </a:r>
          </a:p>
          <a:p>
            <a:pPr marL="514350" indent="-514350" algn="ctr">
              <a:buFont typeface="Arial" panose="020B0604020202020204" pitchFamily="34" charset="0"/>
              <a:buAutoNum type="alphaLcPeriod"/>
            </a:pPr>
            <a:endParaRPr lang="da-DK" b="1"/>
          </a:p>
        </p:txBody>
      </p:sp>
    </p:spTree>
    <p:extLst>
      <p:ext uri="{BB962C8B-B14F-4D97-AF65-F5344CB8AC3E}">
        <p14:creationId xmlns:p14="http://schemas.microsoft.com/office/powerpoint/2010/main" val="1479824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"/>
          <p:cNvGrpSpPr/>
          <p:nvPr/>
        </p:nvGrpSpPr>
        <p:grpSpPr>
          <a:xfrm>
            <a:off x="1532809" y="4471928"/>
            <a:ext cx="334055" cy="334055"/>
            <a:chOff x="0" y="0"/>
            <a:chExt cx="8128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3C460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8" name="Freeform 8"/>
          <p:cNvSpPr/>
          <p:nvPr/>
        </p:nvSpPr>
        <p:spPr>
          <a:xfrm>
            <a:off x="3453237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5" y="0"/>
                </a:lnTo>
                <a:lnTo>
                  <a:pt x="2027545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9" name="Group 9"/>
          <p:cNvGrpSpPr/>
          <p:nvPr/>
        </p:nvGrpSpPr>
        <p:grpSpPr>
          <a:xfrm>
            <a:off x="3962058" y="4471928"/>
            <a:ext cx="334055" cy="334055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12" name="Freeform 12"/>
          <p:cNvSpPr/>
          <p:nvPr/>
        </p:nvSpPr>
        <p:spPr>
          <a:xfrm>
            <a:off x="7875809" y="2259586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6" y="0"/>
                </a:lnTo>
                <a:lnTo>
                  <a:pt x="2027546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13" name="Group 13"/>
          <p:cNvGrpSpPr/>
          <p:nvPr/>
        </p:nvGrpSpPr>
        <p:grpSpPr>
          <a:xfrm>
            <a:off x="8384630" y="4472870"/>
            <a:ext cx="334055" cy="334055"/>
            <a:chOff x="0" y="0"/>
            <a:chExt cx="812800" cy="8128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16" name="Freeform 16"/>
          <p:cNvSpPr/>
          <p:nvPr/>
        </p:nvSpPr>
        <p:spPr>
          <a:xfrm>
            <a:off x="10148404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5" y="0"/>
                </a:lnTo>
                <a:lnTo>
                  <a:pt x="2027545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17" name="Group 17"/>
          <p:cNvGrpSpPr/>
          <p:nvPr/>
        </p:nvGrpSpPr>
        <p:grpSpPr>
          <a:xfrm>
            <a:off x="10657225" y="4471928"/>
            <a:ext cx="334055" cy="334055"/>
            <a:chOff x="0" y="0"/>
            <a:chExt cx="8128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20" name="Freeform 20"/>
          <p:cNvSpPr/>
          <p:nvPr/>
        </p:nvSpPr>
        <p:spPr>
          <a:xfrm>
            <a:off x="5694966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6" y="0"/>
                </a:lnTo>
                <a:lnTo>
                  <a:pt x="2027546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21" name="Group 21"/>
          <p:cNvGrpSpPr/>
          <p:nvPr/>
        </p:nvGrpSpPr>
        <p:grpSpPr>
          <a:xfrm>
            <a:off x="6203787" y="4471928"/>
            <a:ext cx="334055" cy="334055"/>
            <a:chOff x="0" y="0"/>
            <a:chExt cx="812800" cy="8128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24" name="AutoShape 24"/>
          <p:cNvSpPr/>
          <p:nvPr/>
        </p:nvSpPr>
        <p:spPr>
          <a:xfrm flipV="1">
            <a:off x="2868221" y="2047036"/>
            <a:ext cx="0" cy="4328160"/>
          </a:xfrm>
          <a:prstGeom prst="line">
            <a:avLst/>
          </a:prstGeom>
          <a:ln w="38100" cap="flat">
            <a:solidFill>
              <a:srgbClr val="B3C460"/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da-DK" sz="1200"/>
          </a:p>
        </p:txBody>
      </p:sp>
      <p:grpSp>
        <p:nvGrpSpPr>
          <p:cNvPr id="25" name="Group 25"/>
          <p:cNvGrpSpPr/>
          <p:nvPr/>
        </p:nvGrpSpPr>
        <p:grpSpPr>
          <a:xfrm>
            <a:off x="4149290" y="3482536"/>
            <a:ext cx="655643" cy="613795"/>
            <a:chOff x="0" y="0"/>
            <a:chExt cx="847425" cy="793336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27" name="TextBox 27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sp>
        <p:nvSpPr>
          <p:cNvPr id="28" name="TextBox 28"/>
          <p:cNvSpPr txBox="1"/>
          <p:nvPr/>
        </p:nvSpPr>
        <p:spPr>
          <a:xfrm>
            <a:off x="631661" y="5336505"/>
            <a:ext cx="2136351" cy="10805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ølgende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dele:</a:t>
            </a: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System licenser</a:t>
            </a: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ekretariat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kl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løn</a:t>
            </a:r>
            <a:endParaRPr lang="en-US" sz="1229" spc="120">
              <a:solidFill>
                <a:srgbClr val="231F20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vikling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jf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ftale</a:t>
            </a:r>
            <a:endParaRPr lang="en-US" sz="1229" spc="120">
              <a:solidFill>
                <a:srgbClr val="231F20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544151" y="4939243"/>
            <a:ext cx="2311370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BASIS DRIFT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3453237" y="2621194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Dialoger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7875809" y="2583070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 token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10148404" y="2582127"/>
            <a:ext cx="1351697" cy="9714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dokumen-ter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3060910" y="5336506"/>
            <a:ext cx="2136351" cy="6445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kommunens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til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chatbot-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orbruget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3201382" y="4939243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CHATBOT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483482" y="5337446"/>
            <a:ext cx="2136351" cy="15165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udgift indeholder kommunens udgifter til brugen af generativ AI, hvor der anvendes større sprogmodeller. Dette afregnes i antal Token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7623954" y="4940185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GENERATIV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9756077" y="5337446"/>
            <a:ext cx="2136351" cy="15165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kommunens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til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brug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f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øgning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,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x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hjemmesiden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opgøres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om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ntal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okumenter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om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kal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gennemsøges</a:t>
            </a: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9896548" y="4940185"/>
            <a:ext cx="1806555" cy="3317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AI Crawl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5694966" y="2582128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minutter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5302639" y="5336505"/>
            <a:ext cx="2136351" cy="12985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udgift indeholder kommunens udgifter til bruges af voicebot. Udgifter opgøres i antal minutter som afregnes efter en listepris.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443111" y="4939243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VOICE</a:t>
            </a:r>
          </a:p>
        </p:txBody>
      </p:sp>
      <p:grpSp>
        <p:nvGrpSpPr>
          <p:cNvPr id="43" name="Group 43"/>
          <p:cNvGrpSpPr/>
          <p:nvPr/>
        </p:nvGrpSpPr>
        <p:grpSpPr>
          <a:xfrm>
            <a:off x="6391020" y="3482536"/>
            <a:ext cx="655643" cy="613795"/>
            <a:chOff x="0" y="0"/>
            <a:chExt cx="847425" cy="793336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grpSp>
        <p:nvGrpSpPr>
          <p:cNvPr id="46" name="Group 46"/>
          <p:cNvGrpSpPr/>
          <p:nvPr/>
        </p:nvGrpSpPr>
        <p:grpSpPr>
          <a:xfrm>
            <a:off x="8571863" y="3482536"/>
            <a:ext cx="655643" cy="613795"/>
            <a:chOff x="0" y="0"/>
            <a:chExt cx="847425" cy="793336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48" name="TextBox 48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grpSp>
        <p:nvGrpSpPr>
          <p:cNvPr id="49" name="Group 49"/>
          <p:cNvGrpSpPr/>
          <p:nvPr/>
        </p:nvGrpSpPr>
        <p:grpSpPr>
          <a:xfrm>
            <a:off x="10844458" y="3482536"/>
            <a:ext cx="655643" cy="613795"/>
            <a:chOff x="0" y="0"/>
            <a:chExt cx="847425" cy="793336"/>
          </a:xfrm>
          <a:solidFill>
            <a:srgbClr val="B3C460"/>
          </a:solidFill>
        </p:grpSpPr>
        <p:sp>
          <p:nvSpPr>
            <p:cNvPr id="50" name="Freeform 50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  <a:grpFill/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b="1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Basis drift</a:t>
              </a:r>
            </a:p>
          </p:txBody>
        </p:sp>
      </p:grpSp>
      <p:grpSp>
        <p:nvGrpSpPr>
          <p:cNvPr id="56" name="Group 7">
            <a:extLst>
              <a:ext uri="{FF2B5EF4-FFF2-40B4-BE49-F238E27FC236}">
                <a16:creationId xmlns:a16="http://schemas.microsoft.com/office/drawing/2014/main" id="{32ECA13C-75F8-C228-4C29-DC6AD71BE48B}"/>
              </a:ext>
            </a:extLst>
          </p:cNvPr>
          <p:cNvGrpSpPr/>
          <p:nvPr/>
        </p:nvGrpSpPr>
        <p:grpSpPr>
          <a:xfrm>
            <a:off x="0" y="-12992"/>
            <a:ext cx="12192000" cy="2057400"/>
            <a:chOff x="0" y="0"/>
            <a:chExt cx="4816593" cy="812800"/>
          </a:xfrm>
        </p:grpSpPr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68EA2C7-A712-DD5B-432E-BE851026F8F0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58" name="TextBox 9">
              <a:extLst>
                <a:ext uri="{FF2B5EF4-FFF2-40B4-BE49-F238E27FC236}">
                  <a16:creationId xmlns:a16="http://schemas.microsoft.com/office/drawing/2014/main" id="{F8F1DF36-0140-DF33-7A25-EE60A6A04010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59" name="Freeform 14">
            <a:extLst>
              <a:ext uri="{FF2B5EF4-FFF2-40B4-BE49-F238E27FC236}">
                <a16:creationId xmlns:a16="http://schemas.microsoft.com/office/drawing/2014/main" id="{E073A9BB-C018-2E74-59D5-182C2E3C2F8B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id="{36567D77-5D21-1900-AF5B-B0A45CD1DCE0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3" name="Freeform 3"/>
          <p:cNvSpPr/>
          <p:nvPr/>
        </p:nvSpPr>
        <p:spPr>
          <a:xfrm>
            <a:off x="718792" y="1562630"/>
            <a:ext cx="1933207" cy="2937192"/>
          </a:xfrm>
          <a:custGeom>
            <a:avLst/>
            <a:gdLst/>
            <a:ahLst/>
            <a:cxnLst/>
            <a:rect l="l" t="t" r="r" b="b"/>
            <a:pathLst>
              <a:path w="2899810" h="4405788">
                <a:moveTo>
                  <a:pt x="0" y="0"/>
                </a:moveTo>
                <a:lnTo>
                  <a:pt x="2899809" y="0"/>
                </a:lnTo>
                <a:lnTo>
                  <a:pt x="2899809" y="4405788"/>
                </a:lnTo>
                <a:lnTo>
                  <a:pt x="0" y="440578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52" name="Group 52"/>
          <p:cNvGrpSpPr/>
          <p:nvPr/>
        </p:nvGrpSpPr>
        <p:grpSpPr>
          <a:xfrm>
            <a:off x="1530960" y="2754925"/>
            <a:ext cx="1135480" cy="1063005"/>
            <a:chOff x="0" y="0"/>
            <a:chExt cx="847425" cy="793336"/>
          </a:xfrm>
        </p:grpSpPr>
        <p:sp>
          <p:nvSpPr>
            <p:cNvPr id="53" name="Freeform 53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132410" y="66809"/>
              <a:ext cx="582605" cy="60256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600"/>
                </a:lnSpc>
              </a:pPr>
              <a:r>
                <a:rPr lang="en-US" sz="1067" spc="3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Befolkning</a:t>
              </a:r>
            </a:p>
          </p:txBody>
        </p:sp>
      </p:grpSp>
      <p:sp>
        <p:nvSpPr>
          <p:cNvPr id="29" name="TextBox 29"/>
          <p:cNvSpPr txBox="1"/>
          <p:nvPr/>
        </p:nvSpPr>
        <p:spPr>
          <a:xfrm>
            <a:off x="1023988" y="2071454"/>
            <a:ext cx="1351697" cy="5171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38"/>
              </a:lnSpc>
            </a:pPr>
            <a:r>
              <a:rPr lang="en-US" sz="3216" b="1" spc="315">
                <a:solidFill>
                  <a:srgbClr val="FFFBFB"/>
                </a:solidFill>
                <a:latin typeface="DM Sans Bold"/>
                <a:ea typeface="DM Sans Bold"/>
                <a:cs typeface="DM Sans Bold"/>
                <a:sym typeface="DM Sans Bold"/>
              </a:rPr>
              <a:t>Basis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Driftsøkonomi</a:t>
            </a:r>
          </a:p>
        </p:txBody>
      </p:sp>
      <p:pic>
        <p:nvPicPr>
          <p:cNvPr id="4" name="Billede 3" descr="Et billede, der indeholder tekst, ballon, Luftballon, skærmbillede&#10;&#10;Automatisk genereret beskrivelse">
            <a:extLst>
              <a:ext uri="{FF2B5EF4-FFF2-40B4-BE49-F238E27FC236}">
                <a16:creationId xmlns:a16="http://schemas.microsoft.com/office/drawing/2014/main" id="{0AFD2E63-3D6B-79F0-99D8-828876E4C27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23"/>
            <a:ext cx="12192000" cy="6849954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7">
            <a:extLst>
              <a:ext uri="{FF2B5EF4-FFF2-40B4-BE49-F238E27FC236}">
                <a16:creationId xmlns:a16="http://schemas.microsoft.com/office/drawing/2014/main" id="{32ECA13C-75F8-C228-4C29-DC6AD71BE48B}"/>
              </a:ext>
            </a:extLst>
          </p:cNvPr>
          <p:cNvGrpSpPr/>
          <p:nvPr/>
        </p:nvGrpSpPr>
        <p:grpSpPr>
          <a:xfrm>
            <a:off x="0" y="-12992"/>
            <a:ext cx="12192000" cy="2057400"/>
            <a:chOff x="0" y="0"/>
            <a:chExt cx="4816593" cy="812800"/>
          </a:xfrm>
        </p:grpSpPr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68EA2C7-A712-DD5B-432E-BE851026F8F0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58" name="TextBox 9">
              <a:extLst>
                <a:ext uri="{FF2B5EF4-FFF2-40B4-BE49-F238E27FC236}">
                  <a16:creationId xmlns:a16="http://schemas.microsoft.com/office/drawing/2014/main" id="{F8F1DF36-0140-DF33-7A25-EE60A6A04010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59" name="Freeform 14">
            <a:extLst>
              <a:ext uri="{FF2B5EF4-FFF2-40B4-BE49-F238E27FC236}">
                <a16:creationId xmlns:a16="http://schemas.microsoft.com/office/drawing/2014/main" id="{E073A9BB-C018-2E74-59D5-182C2E3C2F8B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id="{36567D77-5D21-1900-AF5B-B0A45CD1DCE0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9" name="TextBox 29"/>
          <p:cNvSpPr txBox="1"/>
          <p:nvPr/>
        </p:nvSpPr>
        <p:spPr>
          <a:xfrm>
            <a:off x="1023988" y="2071454"/>
            <a:ext cx="1351697" cy="5171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38"/>
              </a:lnSpc>
            </a:pPr>
            <a:r>
              <a:rPr lang="en-US" sz="3216" b="1" spc="315">
                <a:solidFill>
                  <a:srgbClr val="FFFBFB"/>
                </a:solidFill>
                <a:latin typeface="DM Sans Bold"/>
                <a:ea typeface="DM Sans Bold"/>
                <a:cs typeface="DM Sans Bold"/>
                <a:sym typeface="DM Sans Bold"/>
              </a:rPr>
              <a:t>Basis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Hvad er et </a:t>
            </a:r>
            <a:r>
              <a:rPr lang="da-DK" err="1">
                <a:solidFill>
                  <a:schemeClr val="bg1"/>
                </a:solidFill>
              </a:rPr>
              <a:t>token</a:t>
            </a:r>
            <a:r>
              <a:rPr lang="da-DK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6DCD5A0D-677B-F31F-2203-FE36638934F9}"/>
              </a:ext>
            </a:extLst>
          </p:cNvPr>
          <p:cNvSpPr txBox="1"/>
          <p:nvPr/>
        </p:nvSpPr>
        <p:spPr>
          <a:xfrm>
            <a:off x="464678" y="2705591"/>
            <a:ext cx="7057912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800" b="0" i="0">
                <a:solidFill>
                  <a:srgbClr val="353740"/>
                </a:solidFill>
                <a:effectLst/>
              </a:rPr>
              <a:t>"Store sprogmodeller bearbejder tekst ved hjælp af </a:t>
            </a:r>
            <a:r>
              <a:rPr lang="da-DK" sz="2800" b="0" i="0" err="1">
                <a:solidFill>
                  <a:srgbClr val="353740"/>
                </a:solidFill>
                <a:effectLst/>
              </a:rPr>
              <a:t>tokens</a:t>
            </a:r>
            <a:r>
              <a:rPr lang="da-DK" sz="2800" b="0" i="0">
                <a:solidFill>
                  <a:srgbClr val="353740"/>
                </a:solidFill>
                <a:effectLst/>
              </a:rPr>
              <a:t>, som er almindelige sekvenser af tegn fundet i et sæt af tekst. Modellerne lærer at forstå de statistiske relationer mellem disse </a:t>
            </a:r>
            <a:r>
              <a:rPr lang="da-DK" sz="2800" b="0" i="0" err="1">
                <a:solidFill>
                  <a:srgbClr val="353740"/>
                </a:solidFill>
                <a:effectLst/>
              </a:rPr>
              <a:t>tokens</a:t>
            </a:r>
            <a:r>
              <a:rPr lang="da-DK" sz="2800" b="0" i="0">
                <a:solidFill>
                  <a:srgbClr val="353740"/>
                </a:solidFill>
                <a:effectLst/>
              </a:rPr>
              <a:t> og er fremragende til at producere det næste </a:t>
            </a:r>
            <a:r>
              <a:rPr lang="da-DK" sz="2800" b="0" i="0" err="1">
                <a:solidFill>
                  <a:srgbClr val="353740"/>
                </a:solidFill>
                <a:effectLst/>
              </a:rPr>
              <a:t>token</a:t>
            </a:r>
            <a:r>
              <a:rPr lang="da-DK" sz="2800" b="0" i="0">
                <a:solidFill>
                  <a:srgbClr val="353740"/>
                </a:solidFill>
                <a:effectLst/>
              </a:rPr>
              <a:t> i en sekvens af </a:t>
            </a:r>
            <a:r>
              <a:rPr lang="da-DK" sz="2800" b="0" i="0" err="1">
                <a:solidFill>
                  <a:srgbClr val="353740"/>
                </a:solidFill>
                <a:effectLst/>
              </a:rPr>
              <a:t>tokens</a:t>
            </a:r>
            <a:r>
              <a:rPr lang="da-DK" sz="2800" b="0" i="0">
                <a:solidFill>
                  <a:srgbClr val="353740"/>
                </a:solidFill>
                <a:effectLst/>
              </a:rPr>
              <a:t>."</a:t>
            </a:r>
            <a:endParaRPr lang="da-DK" sz="280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488A082-1695-EA84-63D2-C6284088E31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74409" t="85917" b="1"/>
          <a:stretch/>
        </p:blipFill>
        <p:spPr>
          <a:xfrm>
            <a:off x="8401222" y="2894127"/>
            <a:ext cx="2983836" cy="904974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BB7B543D-286F-F710-3D4D-93125DF7D4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2972" y="4375250"/>
            <a:ext cx="3605432" cy="321503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4DB59821-5514-7451-AC16-FA109C0A7A8E}"/>
              </a:ext>
            </a:extLst>
          </p:cNvPr>
          <p:cNvSpPr txBox="1"/>
          <p:nvPr/>
        </p:nvSpPr>
        <p:spPr>
          <a:xfrm>
            <a:off x="9638529" y="3781376"/>
            <a:ext cx="7403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>
                <a:solidFill>
                  <a:srgbClr val="353740"/>
                </a:solidFill>
                <a:effectLst/>
                <a:latin typeface="Söhne"/>
              </a:rPr>
              <a:t>=</a:t>
            </a:r>
            <a:endParaRPr lang="da-DK" sz="280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F226799-0292-41DF-9050-DF89953D57FA}"/>
              </a:ext>
            </a:extLst>
          </p:cNvPr>
          <p:cNvSpPr txBox="1"/>
          <p:nvPr/>
        </p:nvSpPr>
        <p:spPr>
          <a:xfrm>
            <a:off x="9061035" y="5121637"/>
            <a:ext cx="1664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>
                <a:solidFill>
                  <a:srgbClr val="353740"/>
                </a:solidFill>
                <a:effectLst/>
              </a:rPr>
              <a:t>8 tokens</a:t>
            </a:r>
            <a:endParaRPr lang="da-DK" sz="2800"/>
          </a:p>
        </p:txBody>
      </p:sp>
    </p:spTree>
    <p:extLst>
      <p:ext uri="{BB962C8B-B14F-4D97-AF65-F5344CB8AC3E}">
        <p14:creationId xmlns:p14="http://schemas.microsoft.com/office/powerpoint/2010/main" val="1628057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7">
            <a:extLst>
              <a:ext uri="{FF2B5EF4-FFF2-40B4-BE49-F238E27FC236}">
                <a16:creationId xmlns:a16="http://schemas.microsoft.com/office/drawing/2014/main" id="{32ECA13C-75F8-C228-4C29-DC6AD71BE48B}"/>
              </a:ext>
            </a:extLst>
          </p:cNvPr>
          <p:cNvGrpSpPr/>
          <p:nvPr/>
        </p:nvGrpSpPr>
        <p:grpSpPr>
          <a:xfrm>
            <a:off x="0" y="-12992"/>
            <a:ext cx="12192000" cy="2057400"/>
            <a:chOff x="0" y="0"/>
            <a:chExt cx="4816593" cy="812800"/>
          </a:xfrm>
        </p:grpSpPr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68EA2C7-A712-DD5B-432E-BE851026F8F0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58" name="TextBox 9">
              <a:extLst>
                <a:ext uri="{FF2B5EF4-FFF2-40B4-BE49-F238E27FC236}">
                  <a16:creationId xmlns:a16="http://schemas.microsoft.com/office/drawing/2014/main" id="{F8F1DF36-0140-DF33-7A25-EE60A6A04010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59" name="Freeform 14">
            <a:extLst>
              <a:ext uri="{FF2B5EF4-FFF2-40B4-BE49-F238E27FC236}">
                <a16:creationId xmlns:a16="http://schemas.microsoft.com/office/drawing/2014/main" id="{E073A9BB-C018-2E74-59D5-182C2E3C2F8B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id="{36567D77-5D21-1900-AF5B-B0A45CD1DCE0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9" name="TextBox 29"/>
          <p:cNvSpPr txBox="1"/>
          <p:nvPr/>
        </p:nvSpPr>
        <p:spPr>
          <a:xfrm>
            <a:off x="1023988" y="2071454"/>
            <a:ext cx="1351697" cy="5171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38"/>
              </a:lnSpc>
            </a:pPr>
            <a:r>
              <a:rPr lang="en-US" sz="3216" b="1" spc="315">
                <a:solidFill>
                  <a:srgbClr val="FFFBFB"/>
                </a:solidFill>
                <a:latin typeface="DM Sans Bold"/>
                <a:ea typeface="DM Sans Bold"/>
                <a:cs typeface="DM Sans Bold"/>
                <a:sym typeface="DM Sans Bold"/>
              </a:rPr>
              <a:t>Basis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Hvad er et </a:t>
            </a:r>
            <a:r>
              <a:rPr lang="da-DK" err="1">
                <a:solidFill>
                  <a:schemeClr val="bg1"/>
                </a:solidFill>
              </a:rPr>
              <a:t>token</a:t>
            </a:r>
            <a:r>
              <a:rPr lang="da-DK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6870A8E3-1C35-4367-785A-DD6238A4922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40409" b="1"/>
          <a:stretch/>
        </p:blipFill>
        <p:spPr>
          <a:xfrm>
            <a:off x="98119" y="2362118"/>
            <a:ext cx="6557332" cy="215384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E3FB19BF-EA34-3A22-F704-6689EAD0542E}"/>
              </a:ext>
            </a:extLst>
          </p:cNvPr>
          <p:cNvSpPr txBox="1"/>
          <p:nvPr/>
        </p:nvSpPr>
        <p:spPr>
          <a:xfrm>
            <a:off x="6751762" y="2362118"/>
            <a:ext cx="1659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 i="0">
                <a:solidFill>
                  <a:srgbClr val="353740"/>
                </a:solidFill>
                <a:effectLst/>
              </a:rPr>
              <a:t>3 </a:t>
            </a:r>
            <a:r>
              <a:rPr lang="da-DK" sz="2400" b="1" i="0" err="1">
                <a:solidFill>
                  <a:srgbClr val="353740"/>
                </a:solidFill>
                <a:effectLst/>
              </a:rPr>
              <a:t>tokens</a:t>
            </a:r>
            <a:endParaRPr lang="da-DK" sz="2400" b="1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2A5A5208-E582-2E33-0271-7E6A0B29635D}"/>
              </a:ext>
            </a:extLst>
          </p:cNvPr>
          <p:cNvSpPr txBox="1"/>
          <p:nvPr/>
        </p:nvSpPr>
        <p:spPr>
          <a:xfrm>
            <a:off x="6751762" y="4054292"/>
            <a:ext cx="1659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353740"/>
                </a:solidFill>
              </a:rPr>
              <a:t>8</a:t>
            </a:r>
            <a:r>
              <a:rPr lang="da-DK" sz="2400" b="1" i="0">
                <a:solidFill>
                  <a:srgbClr val="353740"/>
                </a:solidFill>
                <a:effectLst/>
              </a:rPr>
              <a:t> </a:t>
            </a:r>
            <a:r>
              <a:rPr lang="da-DK" sz="2400" b="1" i="0" err="1">
                <a:solidFill>
                  <a:srgbClr val="353740"/>
                </a:solidFill>
                <a:effectLst/>
              </a:rPr>
              <a:t>tokens</a:t>
            </a:r>
            <a:endParaRPr lang="da-DK" sz="2400" b="1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4D470616-0E6F-08F5-D2DE-50C417520C8F}"/>
              </a:ext>
            </a:extLst>
          </p:cNvPr>
          <p:cNvSpPr txBox="1"/>
          <p:nvPr/>
        </p:nvSpPr>
        <p:spPr>
          <a:xfrm>
            <a:off x="6751762" y="3208205"/>
            <a:ext cx="1659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353740"/>
                </a:solidFill>
              </a:rPr>
              <a:t>51</a:t>
            </a:r>
            <a:r>
              <a:rPr lang="da-DK" sz="2400" b="1" i="0">
                <a:solidFill>
                  <a:srgbClr val="353740"/>
                </a:solidFill>
                <a:effectLst/>
              </a:rPr>
              <a:t> </a:t>
            </a:r>
            <a:r>
              <a:rPr lang="da-DK" sz="2400" b="1" i="0" err="1">
                <a:solidFill>
                  <a:srgbClr val="353740"/>
                </a:solidFill>
                <a:effectLst/>
              </a:rPr>
              <a:t>tokens</a:t>
            </a:r>
            <a:endParaRPr lang="da-DK" sz="2400" b="1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9D919091-FA1A-97B6-F3F4-DAFAD06FB8B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536"/>
          <a:stretch/>
        </p:blipFill>
        <p:spPr>
          <a:xfrm>
            <a:off x="242878" y="4634130"/>
            <a:ext cx="6267815" cy="2112615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B1254DD2-31E2-6F46-8AE0-E4F8623FB317}"/>
              </a:ext>
            </a:extLst>
          </p:cNvPr>
          <p:cNvSpPr txBox="1"/>
          <p:nvPr/>
        </p:nvSpPr>
        <p:spPr>
          <a:xfrm>
            <a:off x="6751762" y="5228084"/>
            <a:ext cx="19491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 i="0">
                <a:solidFill>
                  <a:srgbClr val="353740"/>
                </a:solidFill>
                <a:effectLst/>
              </a:rPr>
              <a:t>144 </a:t>
            </a:r>
            <a:r>
              <a:rPr lang="da-DK" sz="2400" b="1" i="0" err="1">
                <a:solidFill>
                  <a:srgbClr val="353740"/>
                </a:solidFill>
                <a:effectLst/>
              </a:rPr>
              <a:t>tokens</a:t>
            </a:r>
            <a:endParaRPr lang="da-DK" sz="2400" b="1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528B14E5-81A1-FF07-A4E8-0A0083EEA1D4}"/>
              </a:ext>
            </a:extLst>
          </p:cNvPr>
          <p:cNvSpPr txBox="1"/>
          <p:nvPr/>
        </p:nvSpPr>
        <p:spPr>
          <a:xfrm>
            <a:off x="9162853" y="3429000"/>
            <a:ext cx="2388721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4000" b="1"/>
              <a:t>Total:</a:t>
            </a:r>
          </a:p>
          <a:p>
            <a:pPr algn="ctr"/>
            <a:r>
              <a:rPr lang="da-DK" sz="4000" b="0" i="0" u="none" strike="noStrike">
                <a:solidFill>
                  <a:srgbClr val="000000"/>
                </a:solidFill>
                <a:effectLst/>
              </a:rPr>
              <a:t>0,0014</a:t>
            </a:r>
            <a:r>
              <a:rPr lang="da-DK" sz="4000"/>
              <a:t> </a:t>
            </a:r>
            <a:r>
              <a:rPr lang="da-DK" sz="4000" b="1"/>
              <a:t>kr. </a:t>
            </a:r>
          </a:p>
          <a:p>
            <a:endParaRPr lang="da-DK" sz="2400" b="1"/>
          </a:p>
        </p:txBody>
      </p:sp>
    </p:spTree>
    <p:extLst>
      <p:ext uri="{BB962C8B-B14F-4D97-AF65-F5344CB8AC3E}">
        <p14:creationId xmlns:p14="http://schemas.microsoft.com/office/powerpoint/2010/main" val="416321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Driftsøkonomi (basis + chatbot-dialoger)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867E4131-A0CA-8B6A-9315-7A1034C2B6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697" y="2790008"/>
            <a:ext cx="3937000" cy="912282"/>
          </a:xfrm>
        </p:spPr>
        <p:txBody>
          <a:bodyPr>
            <a:normAutofit/>
          </a:bodyPr>
          <a:lstStyle/>
          <a:p>
            <a:pPr marL="45720" indent="0">
              <a:buNone/>
            </a:pPr>
            <a:r>
              <a:rPr lang="da-DK" sz="2400"/>
              <a:t>MUNI driftsøkonomi – inkl. </a:t>
            </a:r>
            <a:r>
              <a:rPr lang="da-DK" sz="2400" err="1"/>
              <a:t>Chatbotdialoger</a:t>
            </a:r>
            <a:endParaRPr lang="da-DK" sz="2400"/>
          </a:p>
          <a:p>
            <a:pPr marL="45720" indent="0">
              <a:buNone/>
            </a:pPr>
            <a:endParaRPr lang="da-DK"/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FD20B7EE-2546-5F8B-02C9-873817AFCE27}"/>
              </a:ext>
            </a:extLst>
          </p:cNvPr>
          <p:cNvSpPr txBox="1"/>
          <p:nvPr/>
        </p:nvSpPr>
        <p:spPr>
          <a:xfrm>
            <a:off x="4302758" y="2746267"/>
            <a:ext cx="358647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/>
              <a:t>MUNI driftsøkonomi </a:t>
            </a:r>
            <a:r>
              <a:rPr lang="da-DK" sz="2400">
                <a:solidFill>
                  <a:schemeClr val="tx2">
                    <a:lumMod val="75000"/>
                  </a:schemeClr>
                </a:solidFill>
              </a:rPr>
              <a:t>NY </a:t>
            </a:r>
            <a:r>
              <a:rPr lang="da-DK" sz="2400"/>
              <a:t>– inkl. Chatbot dialoger (antal som i 2024)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B1211E77-B8D6-02C7-A3A5-89FE11BA3141}"/>
              </a:ext>
            </a:extLst>
          </p:cNvPr>
          <p:cNvSpPr txBox="1"/>
          <p:nvPr/>
        </p:nvSpPr>
        <p:spPr>
          <a:xfrm>
            <a:off x="8567424" y="2694603"/>
            <a:ext cx="348043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/>
              <a:t>MUNI driftsøkonomi </a:t>
            </a:r>
            <a:r>
              <a:rPr lang="da-DK" sz="2400">
                <a:solidFill>
                  <a:schemeClr val="tx2">
                    <a:lumMod val="75000"/>
                  </a:schemeClr>
                </a:solidFill>
              </a:rPr>
              <a:t>NY </a:t>
            </a:r>
            <a:r>
              <a:rPr lang="da-DK" sz="2400"/>
              <a:t>–inkl. Chatbot dialoger (5x chatbot antal – 450.000 dialoger)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03D70FB8-25A7-9121-5C21-4DFF9D59E3EF}"/>
              </a:ext>
            </a:extLst>
          </p:cNvPr>
          <p:cNvSpPr txBox="1"/>
          <p:nvPr/>
        </p:nvSpPr>
        <p:spPr>
          <a:xfrm>
            <a:off x="241305" y="4915653"/>
            <a:ext cx="3937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/>
              <a:t>2023: 1,01 kr. pr. borger</a:t>
            </a:r>
          </a:p>
          <a:p>
            <a:pPr marL="45720" indent="0">
              <a:buNone/>
            </a:pPr>
            <a:r>
              <a:rPr lang="da-DK" sz="2400" b="1"/>
              <a:t>2024: 1,18 kr. pr. borger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9220F16D-1F92-B797-A5DA-0FF1CA19B728}"/>
              </a:ext>
            </a:extLst>
          </p:cNvPr>
          <p:cNvSpPr txBox="1"/>
          <p:nvPr/>
        </p:nvSpPr>
        <p:spPr>
          <a:xfrm>
            <a:off x="4404363" y="4915653"/>
            <a:ext cx="36093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/>
              <a:t>2025: 0,97 kr. pr. borger (gennemsnitligt)</a:t>
            </a:r>
          </a:p>
        </p:txBody>
      </p: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D66E6E05-1388-40CE-BEB2-4DE69E6B2A95}"/>
              </a:ext>
            </a:extLst>
          </p:cNvPr>
          <p:cNvCxnSpPr/>
          <p:nvPr/>
        </p:nvCxnSpPr>
        <p:spPr>
          <a:xfrm>
            <a:off x="3952240" y="2397760"/>
            <a:ext cx="0" cy="363728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43BD45AF-2633-C7BF-E146-2A3A96CBC83B}"/>
              </a:ext>
            </a:extLst>
          </p:cNvPr>
          <p:cNvCxnSpPr/>
          <p:nvPr/>
        </p:nvCxnSpPr>
        <p:spPr>
          <a:xfrm>
            <a:off x="8341360" y="2397760"/>
            <a:ext cx="0" cy="363728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kstfelt 26">
            <a:extLst>
              <a:ext uri="{FF2B5EF4-FFF2-40B4-BE49-F238E27FC236}">
                <a16:creationId xmlns:a16="http://schemas.microsoft.com/office/drawing/2014/main" id="{2BACCCEB-DBA1-03FF-337A-D65CCA88AC9A}"/>
              </a:ext>
            </a:extLst>
          </p:cNvPr>
          <p:cNvSpPr txBox="1"/>
          <p:nvPr/>
        </p:nvSpPr>
        <p:spPr>
          <a:xfrm>
            <a:off x="8567424" y="4915653"/>
            <a:ext cx="35229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/>
              <a:t>2025: 1,14 kr. pr. borger (gennemsnitligt)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68BC032-0E62-14DE-0918-25640CB8F542}"/>
              </a:ext>
            </a:extLst>
          </p:cNvPr>
          <p:cNvSpPr txBox="1">
            <a:spLocks/>
          </p:cNvSpPr>
          <p:nvPr/>
        </p:nvSpPr>
        <p:spPr>
          <a:xfrm>
            <a:off x="8590265" y="2165804"/>
            <a:ext cx="3937000" cy="912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>
              <a:buFont typeface="Arial" panose="020B0604020202020204" pitchFamily="34" charset="0"/>
              <a:buNone/>
            </a:pPr>
            <a:r>
              <a:rPr lang="da-DK" sz="2400" b="1"/>
              <a:t>Fremtiden (5 x 2024)</a:t>
            </a:r>
          </a:p>
          <a:p>
            <a:pPr marL="45720" indent="0">
              <a:buFont typeface="Arial" panose="020B0604020202020204" pitchFamily="34" charset="0"/>
              <a:buNone/>
            </a:pPr>
            <a:endParaRPr lang="da-DK"/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C1D08B02-49E6-F1C5-B398-2CB5C42CD090}"/>
              </a:ext>
            </a:extLst>
          </p:cNvPr>
          <p:cNvSpPr txBox="1">
            <a:spLocks/>
          </p:cNvSpPr>
          <p:nvPr/>
        </p:nvSpPr>
        <p:spPr>
          <a:xfrm>
            <a:off x="139689" y="2154358"/>
            <a:ext cx="3937000" cy="912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>
              <a:buFont typeface="Arial" panose="020B0604020202020204" pitchFamily="34" charset="0"/>
              <a:buNone/>
            </a:pPr>
            <a:r>
              <a:rPr lang="da-DK" sz="2400" b="1"/>
              <a:t>2023 / 2024</a:t>
            </a:r>
          </a:p>
          <a:p>
            <a:pPr marL="45720" indent="0">
              <a:buFont typeface="Arial" panose="020B0604020202020204" pitchFamily="34" charset="0"/>
              <a:buNone/>
            </a:pPr>
            <a:endParaRPr lang="da-DK"/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76FE091C-6C89-D65F-A9F5-F3FEC2D6BAC6}"/>
              </a:ext>
            </a:extLst>
          </p:cNvPr>
          <p:cNvSpPr txBox="1">
            <a:spLocks/>
          </p:cNvSpPr>
          <p:nvPr/>
        </p:nvSpPr>
        <p:spPr>
          <a:xfrm>
            <a:off x="4302748" y="2154358"/>
            <a:ext cx="3937000" cy="912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>
              <a:buFont typeface="Arial" panose="020B0604020202020204" pitchFamily="34" charset="0"/>
              <a:buNone/>
            </a:pPr>
            <a:r>
              <a:rPr lang="da-DK" sz="2400" b="1"/>
              <a:t>Fremtiden (som 2024)</a:t>
            </a:r>
          </a:p>
          <a:p>
            <a:pPr marL="45720" indent="0">
              <a:buFont typeface="Arial" panose="020B0604020202020204" pitchFamily="34" charset="0"/>
              <a:buNone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05506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Økonomien holder 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3" name="Pladsholder til indhold 4">
            <a:extLst>
              <a:ext uri="{FF2B5EF4-FFF2-40B4-BE49-F238E27FC236}">
                <a16:creationId xmlns:a16="http://schemas.microsoft.com/office/drawing/2014/main" id="{12D3C898-AF18-D20D-001E-D9EE9C327E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15383" y="2325687"/>
            <a:ext cx="5264421" cy="2521080"/>
          </a:xfr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81942EF4-524B-E88F-14AA-DB97196530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6942" y="2325687"/>
            <a:ext cx="5359675" cy="3264068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CD2E7CA1-5B5B-C354-634E-3E5DE66F1091}"/>
              </a:ext>
            </a:extLst>
          </p:cNvPr>
          <p:cNvSpPr txBox="1"/>
          <p:nvPr/>
        </p:nvSpPr>
        <p:spPr>
          <a:xfrm>
            <a:off x="615383" y="5051146"/>
            <a:ext cx="50945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/>
              <a:t>=</a:t>
            </a:r>
          </a:p>
          <a:p>
            <a:pPr algn="ctr"/>
            <a:r>
              <a:rPr lang="da-DK" sz="3200"/>
              <a:t>1,38 kr. pr. borger</a:t>
            </a:r>
          </a:p>
        </p:txBody>
      </p:sp>
    </p:spTree>
    <p:extLst>
      <p:ext uri="{BB962C8B-B14F-4D97-AF65-F5344CB8AC3E}">
        <p14:creationId xmlns:p14="http://schemas.microsoft.com/office/powerpoint/2010/main" val="1678864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Driftsøkonomi Forbrugspriser </a:t>
            </a:r>
          </a:p>
          <a:p>
            <a:r>
              <a:rPr lang="da-DK">
                <a:solidFill>
                  <a:schemeClr val="bg1"/>
                </a:solidFill>
              </a:rPr>
              <a:t>Chatbot og AI Crawl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2" name="Pladsholder til indhold 4">
            <a:extLst>
              <a:ext uri="{FF2B5EF4-FFF2-40B4-BE49-F238E27FC236}">
                <a16:creationId xmlns:a16="http://schemas.microsoft.com/office/drawing/2014/main" id="{3B2CFAC4-AA86-812F-8D0A-168CCAFC3D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45160" y="2646759"/>
            <a:ext cx="5182323" cy="3172268"/>
          </a:xfr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62AF6613-9403-B556-0156-35D02706D3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0200" y="3166743"/>
            <a:ext cx="5220429" cy="280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043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Driftsøkonomi Forbrugspriser</a:t>
            </a:r>
          </a:p>
          <a:p>
            <a:r>
              <a:rPr lang="da-DK">
                <a:solidFill>
                  <a:schemeClr val="bg1"/>
                </a:solidFill>
              </a:rPr>
              <a:t>Voice og </a:t>
            </a:r>
            <a:r>
              <a:rPr lang="da-DK" err="1">
                <a:solidFill>
                  <a:schemeClr val="bg1"/>
                </a:solidFill>
              </a:rPr>
              <a:t>GenAI</a:t>
            </a:r>
            <a:endParaRPr lang="da-DK">
              <a:solidFill>
                <a:schemeClr val="bg1"/>
              </a:solidFill>
            </a:endParaRP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A79A6E39-C9AD-147D-3CCE-0E265D6D2F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64" y="2189401"/>
            <a:ext cx="5258534" cy="2457793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3EA33B70-4A23-FD92-1A46-9D5A6B7335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180" y="4800601"/>
            <a:ext cx="7629455" cy="190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74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3" y="8158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2844882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Dorte Krogshede</a:t>
            </a: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TextBox 17"/>
          <p:cNvSpPr txBox="1"/>
          <p:nvPr/>
        </p:nvSpPr>
        <p:spPr>
          <a:xfrm>
            <a:off x="2915983" y="3056855"/>
            <a:ext cx="1534731" cy="457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Project Manager &amp; Conversational AI Specialis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5258389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334589" y="3056855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7670188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7813217" y="3056855"/>
            <a:ext cx="1534731" cy="3048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Conversational AI designer &amp; developer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0007594" y="2787408"/>
            <a:ext cx="1867407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Charlotte Thisgaard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0172594" y="3056855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Studentermedhjælp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02915" y="4114800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>
            <a:off x="241754" y="3789977"/>
            <a:ext cx="4328160" cy="0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7" name="AutoShape 27"/>
          <p:cNvSpPr/>
          <p:nvPr/>
        </p:nvSpPr>
        <p:spPr>
          <a:xfrm>
            <a:off x="4569914" y="3789977"/>
            <a:ext cx="4328160" cy="0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9" name="TextBox 29"/>
          <p:cNvSpPr txBox="1"/>
          <p:nvPr/>
        </p:nvSpPr>
        <p:spPr>
          <a:xfrm>
            <a:off x="2880432" y="4114800"/>
            <a:ext cx="1606661" cy="10668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 af produkter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eknisk support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Ekstern samarbejde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334589" y="4114800"/>
            <a:ext cx="1534731" cy="914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ikation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alt netværk &amp; samarbejde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PR &amp; SoMe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7740892" y="4114800"/>
            <a:ext cx="1534731" cy="1219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ygning af chatbot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valificering og test af indhold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ræ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Monitorering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0223394" y="4114800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Monitorer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Statistik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Webredaktør</a:t>
            </a:r>
          </a:p>
        </p:txBody>
      </p:sp>
      <p:sp>
        <p:nvSpPr>
          <p:cNvPr id="33" name="Pladsholder til indhold 2">
            <a:extLst>
              <a:ext uri="{FF2B5EF4-FFF2-40B4-BE49-F238E27FC236}">
                <a16:creationId xmlns:a16="http://schemas.microsoft.com/office/drawing/2014/main" id="{6600CE70-5D3F-706D-085B-B5F91B091721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10474124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us: Hvor er vi i projektet, og hvad skal der ske nu</a:t>
            </a:r>
            <a:endParaRPr lang="da-DK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Økonomi </a:t>
            </a:r>
            <a:endParaRPr lang="da-DK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atabehandleraftale</a:t>
            </a:r>
            <a:r>
              <a:rPr lang="en-US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​</a:t>
            </a:r>
            <a:endParaRPr lang="da-DK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err="1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oadmap</a:t>
            </a:r>
            <a:r>
              <a:rPr lang="da-DK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​</a:t>
            </a:r>
            <a:endParaRPr lang="da-DK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Hvad kræver det af den enkelte kommune</a:t>
            </a:r>
            <a:endParaRPr lang="da-DK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endParaRPr lang="da-DK"/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0D9DAAB9-C52D-5477-07E8-BB12E8D16959}"/>
              </a:ext>
            </a:extLst>
          </p:cNvPr>
          <p:cNvSpPr txBox="1"/>
          <p:nvPr/>
        </p:nvSpPr>
        <p:spPr>
          <a:xfrm>
            <a:off x="1265570" y="992747"/>
            <a:ext cx="5230400" cy="5071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Dagsorden</a:t>
            </a:r>
            <a:endParaRPr lang="en-US" sz="3948" spc="138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29949600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BE8E480-EC53-1BFF-3F73-725710A539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960" y="3059156"/>
            <a:ext cx="5336100" cy="2451659"/>
          </a:xfrm>
        </p:spPr>
        <p:txBody>
          <a:bodyPr>
            <a:normAutofit fontScale="92500" lnSpcReduction="20000"/>
          </a:bodyPr>
          <a:lstStyle/>
          <a:p>
            <a:r>
              <a:rPr lang="da-DK"/>
              <a:t>Vilkår for samarbejdet i den 6-årige kontraktperiode</a:t>
            </a:r>
          </a:p>
          <a:p>
            <a:r>
              <a:rPr lang="da-DK"/>
              <a:t>Forbrugspriser</a:t>
            </a:r>
          </a:p>
          <a:p>
            <a:r>
              <a:rPr lang="da-DK"/>
              <a:t>Driftspriser</a:t>
            </a:r>
          </a:p>
          <a:p>
            <a:r>
              <a:rPr lang="da-DK"/>
              <a:t>Opsigelsesvilkår</a:t>
            </a:r>
          </a:p>
          <a:p>
            <a:r>
              <a:rPr lang="da-DK"/>
              <a:t>Bilag: DBA (som skal underskrives)</a:t>
            </a: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129FFB56-8123-859D-7957-6D7FEBBCF51F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BE2E057-3419-76B6-4F42-E481DEE6CF88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1" name="TextBox 9">
              <a:extLst>
                <a:ext uri="{FF2B5EF4-FFF2-40B4-BE49-F238E27FC236}">
                  <a16:creationId xmlns:a16="http://schemas.microsoft.com/office/drawing/2014/main" id="{1CA97389-6E86-3336-91D0-E739FA43426D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Freeform 14">
            <a:extLst>
              <a:ext uri="{FF2B5EF4-FFF2-40B4-BE49-F238E27FC236}">
                <a16:creationId xmlns:a16="http://schemas.microsoft.com/office/drawing/2014/main" id="{8D37F9FC-047D-0453-AAFD-9D9FDB063DAC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DE4B78B0-E798-053D-0F0A-7BD8387D432E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657CDC7-52B4-51E5-D44C-38163D4BE278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Samarbejdsaftalen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5CD894D8-393F-5FF7-8736-BC9B0D7BC3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9970" y="2446282"/>
            <a:ext cx="4283174" cy="40187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78347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">
            <a:extLst>
              <a:ext uri="{FF2B5EF4-FFF2-40B4-BE49-F238E27FC236}">
                <a16:creationId xmlns:a16="http://schemas.microsoft.com/office/drawing/2014/main" id="{129FFB56-8123-859D-7957-6D7FEBBCF51F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BE2E057-3419-76B6-4F42-E481DEE6CF88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1" name="TextBox 9">
              <a:extLst>
                <a:ext uri="{FF2B5EF4-FFF2-40B4-BE49-F238E27FC236}">
                  <a16:creationId xmlns:a16="http://schemas.microsoft.com/office/drawing/2014/main" id="{1CA97389-6E86-3336-91D0-E739FA43426D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Freeform 14">
            <a:extLst>
              <a:ext uri="{FF2B5EF4-FFF2-40B4-BE49-F238E27FC236}">
                <a16:creationId xmlns:a16="http://schemas.microsoft.com/office/drawing/2014/main" id="{8D37F9FC-047D-0453-AAFD-9D9FDB063DAC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DE4B78B0-E798-053D-0F0A-7BD8387D432E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657CDC7-52B4-51E5-D44C-38163D4BE278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Databehandleraftalen</a:t>
            </a:r>
          </a:p>
        </p:txBody>
      </p:sp>
      <p:sp>
        <p:nvSpPr>
          <p:cNvPr id="2" name="Pladsholder til indhold 2">
            <a:extLst>
              <a:ext uri="{FF2B5EF4-FFF2-40B4-BE49-F238E27FC236}">
                <a16:creationId xmlns:a16="http://schemas.microsoft.com/office/drawing/2014/main" id="{3A7BE6E0-43F9-F87B-B1DF-D4C994ADCF24}"/>
              </a:ext>
            </a:extLst>
          </p:cNvPr>
          <p:cNvSpPr txBox="1">
            <a:spLocks/>
          </p:cNvSpPr>
          <p:nvPr/>
        </p:nvSpPr>
        <p:spPr>
          <a:xfrm>
            <a:off x="603796" y="2384453"/>
            <a:ext cx="5284574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Anvender skabelon fremsendt af </a:t>
            </a:r>
            <a:r>
              <a:rPr lang="da-DK" b="0" i="0">
                <a:effectLst/>
                <a:latin typeface="theSans"/>
              </a:rPr>
              <a:t>Det fælleskommunale Databehandler- sekretariat</a:t>
            </a:r>
          </a:p>
          <a:p>
            <a:pPr marL="0" indent="0">
              <a:buNone/>
            </a:pPr>
            <a:endParaRPr lang="da-DK"/>
          </a:p>
          <a:p>
            <a:r>
              <a:rPr lang="da-DK"/>
              <a:t>Medsender Aarhus kommunes konsekvens og risikoanalyse til inspiration med udgangspunkt i den juridiske værktøjskasse for ansvarlig AI (KL og Kammeradvokaten)</a:t>
            </a:r>
          </a:p>
          <a:p>
            <a:endParaRPr lang="da-DK"/>
          </a:p>
          <a:p>
            <a:r>
              <a:rPr lang="da-DK"/>
              <a:t>Nonfunktionelle krav i udbuddet til DBA’en er blandt andet hentet fra OS2 kravmotoren og verificeret af tre IT-chefer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F29A25D0-09BD-6A8E-EB28-A61898AB2E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0109" y="2500636"/>
            <a:ext cx="5067654" cy="33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0733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0230" y="-126165"/>
            <a:ext cx="7420073" cy="7420073"/>
          </a:xfrm>
          <a:prstGeom prst="rect">
            <a:avLst/>
          </a:prstGeom>
        </p:spPr>
      </p:pic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Servicepakker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CD7BAD-6692-9B4A-69B5-499739DCCF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a-DK"/>
              <a:t>Oplæg til udrulningsplan ifm. afklaringsrapport</a:t>
            </a:r>
            <a:endParaRPr lang="da-DK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33833AF-C3AB-3261-D952-C3A10088D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809578"/>
              </p:ext>
            </p:extLst>
          </p:nvPr>
        </p:nvGraphicFramePr>
        <p:xfrm>
          <a:off x="655626" y="1471723"/>
          <a:ext cx="11327225" cy="47826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1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135048961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744283061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942611786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3596984579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284690179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94417118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376250187"/>
                    </a:ext>
                  </a:extLst>
                </a:gridCol>
              </a:tblGrid>
              <a:tr h="4782683"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t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j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ni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i</a:t>
                      </a:r>
                    </a:p>
                    <a:p>
                      <a:pPr algn="ctr"/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</a:t>
                      </a:r>
                    </a:p>
                    <a:p>
                      <a:pPr algn="ctr"/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ktobe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v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c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6</a:t>
                      </a:r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Wingdings" panose="05000000000000000000" pitchFamily="2" charset="2"/>
                        </a:rPr>
                        <a:t>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02EF99-ABEA-1B9B-77D5-3709E768F6DD}"/>
              </a:ext>
            </a:extLst>
          </p:cNvPr>
          <p:cNvCxnSpPr>
            <a:cxnSpLocks/>
          </p:cNvCxnSpPr>
          <p:nvPr/>
        </p:nvCxnSpPr>
        <p:spPr>
          <a:xfrm>
            <a:off x="655626" y="1763823"/>
            <a:ext cx="11331687" cy="0"/>
          </a:xfrm>
          <a:prstGeom prst="line">
            <a:avLst/>
          </a:prstGeom>
          <a:ln w="317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3204211-7D12-CCFB-54F5-AFACD21BE7B1}"/>
              </a:ext>
            </a:extLst>
          </p:cNvPr>
          <p:cNvSpPr txBox="1"/>
          <p:nvPr/>
        </p:nvSpPr>
        <p:spPr>
          <a:xfrm>
            <a:off x="209149" y="5329890"/>
            <a:ext cx="1509784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 SCOPE FOR GO-LIVE 20/2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19CFAC5-61B0-6545-956F-9EF1ECEA8A48}"/>
              </a:ext>
            </a:extLst>
          </p:cNvPr>
          <p:cNvCxnSpPr>
            <a:cxnSpLocks/>
          </p:cNvCxnSpPr>
          <p:nvPr/>
        </p:nvCxnSpPr>
        <p:spPr>
          <a:xfrm>
            <a:off x="857968" y="2074406"/>
            <a:ext cx="1208957" cy="9651"/>
          </a:xfrm>
          <a:prstGeom prst="straightConnector1">
            <a:avLst/>
          </a:prstGeom>
          <a:ln w="57150" cmpd="sng">
            <a:solidFill>
              <a:schemeClr val="accent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A3E209B-7658-36AA-3068-44C0B2A21AB0}"/>
              </a:ext>
            </a:extLst>
          </p:cNvPr>
          <p:cNvSpPr txBox="1"/>
          <p:nvPr/>
        </p:nvSpPr>
        <p:spPr>
          <a:xfrm>
            <a:off x="82237" y="1914125"/>
            <a:ext cx="1102684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ni chatbot 2.0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7F8792A-654A-89A4-18CE-287BDDA920F8}"/>
              </a:ext>
            </a:extLst>
          </p:cNvPr>
          <p:cNvGrpSpPr/>
          <p:nvPr/>
        </p:nvGrpSpPr>
        <p:grpSpPr>
          <a:xfrm>
            <a:off x="2139046" y="2550444"/>
            <a:ext cx="2886496" cy="484748"/>
            <a:chOff x="1240671" y="2191558"/>
            <a:chExt cx="2298227" cy="484748"/>
          </a:xfrm>
        </p:grpSpPr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287964B0-9415-92E1-28E1-C381F142B112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3C67F9F-8C2D-BC82-6262-7A3FD598F597}"/>
                </a:ext>
              </a:extLst>
            </p:cNvPr>
            <p:cNvSpPr txBox="1"/>
            <p:nvPr/>
          </p:nvSpPr>
          <p:spPr>
            <a:xfrm>
              <a:off x="1728267" y="2191558"/>
              <a:ext cx="1290158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Straksafklaring i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øvrige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ECB7E8B-29FE-076A-6E0D-B6E07E273E50}"/>
              </a:ext>
            </a:extLst>
          </p:cNvPr>
          <p:cNvGrpSpPr/>
          <p:nvPr/>
        </p:nvGrpSpPr>
        <p:grpSpPr>
          <a:xfrm>
            <a:off x="7702473" y="6056134"/>
            <a:ext cx="4280377" cy="323165"/>
            <a:chOff x="2982557" y="3425674"/>
            <a:chExt cx="849630" cy="323165"/>
          </a:xfrm>
        </p:grpSpPr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176A51F6-DBFC-2463-1140-635E9B43D30A}"/>
                </a:ext>
              </a:extLst>
            </p:cNvPr>
            <p:cNvCxnSpPr>
              <a:cxnSpLocks/>
            </p:cNvCxnSpPr>
            <p:nvPr/>
          </p:nvCxnSpPr>
          <p:spPr>
            <a:xfrm>
              <a:off x="2982557" y="3587256"/>
              <a:ext cx="849630" cy="0"/>
            </a:xfrm>
            <a:prstGeom prst="straightConnector1">
              <a:avLst/>
            </a:prstGeom>
            <a:ln w="57150" cmpd="sng">
              <a:solidFill>
                <a:schemeClr val="accent6"/>
              </a:solidFill>
              <a:prstDash val="sysDot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45330CC-75E3-7157-0F29-E9249E1CFDF0}"/>
                </a:ext>
              </a:extLst>
            </p:cNvPr>
            <p:cNvSpPr txBox="1"/>
            <p:nvPr/>
          </p:nvSpPr>
          <p:spPr>
            <a:xfrm>
              <a:off x="3223304" y="3425674"/>
              <a:ext cx="360449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t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</a:t>
              </a:r>
              <a:r>
                <a:rPr lang="en-US" sz="1050" i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</a:t>
              </a: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æning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boost (</a:t>
              </a: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fter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ehov</a:t>
              </a: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CA9BF62-847B-0ACF-0C32-0838DC276540}"/>
              </a:ext>
            </a:extLst>
          </p:cNvPr>
          <p:cNvGrpSpPr/>
          <p:nvPr/>
        </p:nvGrpSpPr>
        <p:grpSpPr>
          <a:xfrm>
            <a:off x="82237" y="3348346"/>
            <a:ext cx="1984688" cy="323165"/>
            <a:chOff x="82237" y="3009916"/>
            <a:chExt cx="1984688" cy="323165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67ABB218-81CC-3DFA-F63A-9AD926085AB4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3170197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E437719-6F50-DCD7-091D-BFC28EE1D8D7}"/>
                </a:ext>
              </a:extLst>
            </p:cNvPr>
            <p:cNvSpPr txBox="1"/>
            <p:nvPr/>
          </p:nvSpPr>
          <p:spPr>
            <a:xfrm>
              <a:off x="82237" y="3009916"/>
              <a:ext cx="1102684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bcrawl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fallback (LLM)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E2C0E46-111C-5F48-C410-525BB54A244C}"/>
              </a:ext>
            </a:extLst>
          </p:cNvPr>
          <p:cNvGrpSpPr/>
          <p:nvPr/>
        </p:nvGrpSpPr>
        <p:grpSpPr>
          <a:xfrm>
            <a:off x="82237" y="2550444"/>
            <a:ext cx="1984688" cy="484748"/>
            <a:chOff x="82237" y="2404712"/>
            <a:chExt cx="1984688" cy="484748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9F219792-D2C8-1CBC-027C-3A9D8AD23E06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2645784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83D934-5D6F-15C5-593E-2965B85527F9}"/>
                </a:ext>
              </a:extLst>
            </p:cNvPr>
            <p:cNvSpPr txBox="1"/>
            <p:nvPr/>
          </p:nvSpPr>
          <p:spPr>
            <a:xfrm>
              <a:off x="82237" y="2404712"/>
              <a:ext cx="1102684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aks-afklarin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DDH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ED66175-AA02-5BEF-4BEC-F9B110FD87D4}"/>
              </a:ext>
            </a:extLst>
          </p:cNvPr>
          <p:cNvGrpSpPr/>
          <p:nvPr/>
        </p:nvGrpSpPr>
        <p:grpSpPr>
          <a:xfrm>
            <a:off x="82237" y="3903873"/>
            <a:ext cx="1984688" cy="484748"/>
            <a:chOff x="82237" y="3903873"/>
            <a:chExt cx="1984688" cy="484748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621D41CC-2ADB-BCE8-6D8D-75A716FB80BD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4141421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7C0E573-F392-C5E1-0323-98E3EF2C3EF5}"/>
                </a:ext>
              </a:extLst>
            </p:cNvPr>
            <p:cNvSpPr txBox="1"/>
            <p:nvPr/>
          </p:nvSpPr>
          <p:spPr>
            <a:xfrm>
              <a:off x="82237" y="3903873"/>
              <a:ext cx="1102684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Flow-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pbygnin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med DDH-mode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6B20F0A-AC12-330D-B070-8811AD3D44D2}"/>
              </a:ext>
            </a:extLst>
          </p:cNvPr>
          <p:cNvGrpSpPr/>
          <p:nvPr/>
        </p:nvGrpSpPr>
        <p:grpSpPr>
          <a:xfrm>
            <a:off x="5116284" y="2631235"/>
            <a:ext cx="4228242" cy="323165"/>
            <a:chOff x="1240671" y="2272349"/>
            <a:chExt cx="2298227" cy="323165"/>
          </a:xfrm>
        </p:grpSpPr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E9776A2B-CA08-8BEA-8D62-C0F004E73173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E620391-A265-619A-6B25-509850E2C073}"/>
                </a:ext>
              </a:extLst>
            </p:cNvPr>
            <p:cNvSpPr txBox="1"/>
            <p:nvPr/>
          </p:nvSpPr>
          <p:spPr>
            <a:xfrm>
              <a:off x="2134381" y="2272349"/>
              <a:ext cx="939394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Pilot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å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mstillin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DDH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A09D852-05FF-F029-86F7-593B980CAE12}"/>
              </a:ext>
            </a:extLst>
          </p:cNvPr>
          <p:cNvSpPr txBox="1"/>
          <p:nvPr/>
        </p:nvSpPr>
        <p:spPr>
          <a:xfrm>
            <a:off x="11139714" y="2550444"/>
            <a:ext cx="791029" cy="48474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ice: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t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US" sz="1050" i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lering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stilling</a:t>
            </a:r>
            <a:endParaRPr kumimoji="0" lang="en-US" sz="105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49DEF26-676E-C760-AFEA-681FFC38C7DB}"/>
              </a:ext>
            </a:extLst>
          </p:cNvPr>
          <p:cNvGrpSpPr/>
          <p:nvPr/>
        </p:nvGrpSpPr>
        <p:grpSpPr>
          <a:xfrm>
            <a:off x="2139046" y="3984665"/>
            <a:ext cx="1986727" cy="323165"/>
            <a:chOff x="1240671" y="2272349"/>
            <a:chExt cx="2298227" cy="323165"/>
          </a:xfrm>
        </p:grpSpPr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E236DEAF-67F5-C493-F45A-89D6172E0406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A5BF82F-3051-1218-8336-0037ECA64B38}"/>
                </a:ext>
              </a:extLst>
            </p:cNvPr>
            <p:cNvSpPr txBox="1"/>
            <p:nvPr/>
          </p:nvSpPr>
          <p:spPr>
            <a:xfrm>
              <a:off x="1633302" y="2272349"/>
              <a:ext cx="1480090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Pipeline for generative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var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D35F3B9-2EC1-AB0F-77EF-FD741961A0B5}"/>
              </a:ext>
            </a:extLst>
          </p:cNvPr>
          <p:cNvGrpSpPr/>
          <p:nvPr/>
        </p:nvGrpSpPr>
        <p:grpSpPr>
          <a:xfrm>
            <a:off x="2139045" y="4370539"/>
            <a:ext cx="2886497" cy="323165"/>
            <a:chOff x="1240671" y="2272349"/>
            <a:chExt cx="2298227" cy="323165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DC8F8A9-F9A2-FE6B-0EEE-064B866715FB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75F8A1D-305D-7FDD-83B2-AE2A9C1AF113}"/>
                </a:ext>
              </a:extLst>
            </p:cNvPr>
            <p:cNvSpPr txBox="1"/>
            <p:nvPr/>
          </p:nvSpPr>
          <p:spPr>
            <a:xfrm>
              <a:off x="1728267" y="2272349"/>
              <a:ext cx="1290158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gelsk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prog-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rsionerin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low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B0EB26D-78E4-85EB-309A-8F4A630B3D19}"/>
              </a:ext>
            </a:extLst>
          </p:cNvPr>
          <p:cNvGrpSpPr/>
          <p:nvPr/>
        </p:nvGrpSpPr>
        <p:grpSpPr>
          <a:xfrm>
            <a:off x="4156156" y="3984665"/>
            <a:ext cx="7826695" cy="323165"/>
            <a:chOff x="1240671" y="2272349"/>
            <a:chExt cx="2298227" cy="323165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C8D2D4F5-5388-151D-8B07-BAFAD8C10E71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ysDot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6C02278-1886-F7CA-23EC-54C81B48CB5A}"/>
                </a:ext>
              </a:extLst>
            </p:cNvPr>
            <p:cNvSpPr txBox="1"/>
            <p:nvPr/>
          </p:nvSpPr>
          <p:spPr>
            <a:xfrm>
              <a:off x="2005415" y="2272349"/>
              <a:ext cx="507492" cy="323165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sysDot"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i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</a:t>
              </a:r>
              <a:r>
                <a:rPr lang="en-US" sz="1050" i="1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øbende</a:t>
              </a:r>
              <a:r>
                <a:rPr lang="en-US" sz="1050" i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50" i="1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drulning</a:t>
              </a:r>
              <a:r>
                <a:rPr lang="en-US" sz="1050" i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50" i="1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lang="en-US" sz="1050" i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lows med LLM</a:t>
              </a:r>
              <a:endPara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B5D0F5C-942C-F2DE-AD8E-8BA7F5B5BC58}"/>
              </a:ext>
            </a:extLst>
          </p:cNvPr>
          <p:cNvSpPr txBox="1"/>
          <p:nvPr/>
        </p:nvSpPr>
        <p:spPr>
          <a:xfrm>
            <a:off x="11139714" y="3255294"/>
            <a:ext cx="843137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LM: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t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pilot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å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ern chatbo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247BE3D-FB23-FD9E-8A80-7089A44F642D}"/>
              </a:ext>
            </a:extLst>
          </p:cNvPr>
          <p:cNvGrpSpPr/>
          <p:nvPr/>
        </p:nvGrpSpPr>
        <p:grpSpPr>
          <a:xfrm>
            <a:off x="4366234" y="5637957"/>
            <a:ext cx="6854492" cy="323165"/>
            <a:chOff x="2909302" y="2272349"/>
            <a:chExt cx="2298227" cy="323165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1BD98E58-4F52-1192-D376-EAC76C305571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02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4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7E87894-9BAF-051C-3A5F-034E13EE69DB}"/>
                </a:ext>
              </a:extLst>
            </p:cNvPr>
            <p:cNvSpPr txBox="1"/>
            <p:nvPr/>
          </p:nvSpPr>
          <p:spPr>
            <a:xfrm>
              <a:off x="3756147" y="2272349"/>
              <a:ext cx="579472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ve chat/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iderestilling</a:t>
              </a: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Pilot i </a:t>
              </a:r>
              <a:r>
                <a:rPr kumimoji="0" lang="en-US" sz="105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uzzel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CF84CA80-7372-C6B0-9CA1-703F7AADB4D7}"/>
              </a:ext>
            </a:extLst>
          </p:cNvPr>
          <p:cNvSpPr txBox="1"/>
          <p:nvPr/>
        </p:nvSpPr>
        <p:spPr>
          <a:xfrm>
            <a:off x="11328529" y="5600585"/>
            <a:ext cx="843137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ve chat: </a:t>
            </a: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gtplan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or live chat</a:t>
            </a:r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BD833381-DFEA-AC26-0FB4-6B03D454DE4A}"/>
              </a:ext>
            </a:extLst>
          </p:cNvPr>
          <p:cNvSpPr txBox="1">
            <a:spLocks/>
          </p:cNvSpPr>
          <p:nvPr/>
        </p:nvSpPr>
        <p:spPr>
          <a:xfrm>
            <a:off x="655626" y="1027645"/>
            <a:ext cx="11327224" cy="3961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/>
          <a:lstStyle>
            <a:lvl1pPr marL="0" marR="0" indent="0" algn="l" defTabSz="914400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 b="0" i="0" u="none" strike="noStrike" cap="none" spc="0" baseline="0">
                <a:solidFill>
                  <a:srgbClr val="014F59"/>
                </a:solidFill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Open Sans"/>
              </a:defRPr>
            </a:lvl1pPr>
            <a:lvl2pPr marL="0" marR="0" indent="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176400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356399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532799" marR="0" indent="-176399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r>
              <a:rPr lang="da-DK" sz="1200" kern="0"/>
              <a:t>Udrulningsplanen viser de optioner, som hhv. indgår ved go-live 20/2 og udrulles senere. Hvert udrulningsforløb indledes med en afklaringsfase, efterfulgt af en etablerings- og prøvefase. Tidsintervaller for individuelle udrulningsforløb er indikative og fastsættes endeligt ifm. afklaringsfase på de enkelte udrulningsforløb.</a:t>
            </a:r>
            <a:endParaRPr lang="da-DK" sz="1200" b="1" ker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70141BE-A325-7CFE-76BC-4859C2682DAE}"/>
              </a:ext>
            </a:extLst>
          </p:cNvPr>
          <p:cNvSpPr/>
          <p:nvPr/>
        </p:nvSpPr>
        <p:spPr>
          <a:xfrm>
            <a:off x="51386" y="1819262"/>
            <a:ext cx="1996918" cy="4227221"/>
          </a:xfrm>
          <a:prstGeom prst="rect">
            <a:avLst/>
          </a:prstGeom>
          <a:noFill/>
          <a:ln w="38100" cap="flat">
            <a:solidFill>
              <a:schemeClr val="accent6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4629CDE-9FAF-92C1-1F54-F04D667F7B6D}"/>
              </a:ext>
            </a:extLst>
          </p:cNvPr>
          <p:cNvSpPr txBox="1"/>
          <p:nvPr/>
        </p:nvSpPr>
        <p:spPr>
          <a:xfrm>
            <a:off x="655626" y="6618749"/>
            <a:ext cx="855581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klaringsfase</a:t>
            </a:r>
            <a:endParaRPr kumimoji="0" lang="en-US" sz="105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2CF0D1F-5EB9-FF90-66AA-37648E12B5B4}"/>
              </a:ext>
            </a:extLst>
          </p:cNvPr>
          <p:cNvGrpSpPr/>
          <p:nvPr/>
        </p:nvGrpSpPr>
        <p:grpSpPr>
          <a:xfrm>
            <a:off x="973474" y="6465714"/>
            <a:ext cx="537733" cy="161583"/>
            <a:chOff x="857968" y="6465714"/>
            <a:chExt cx="537733" cy="161583"/>
          </a:xfrm>
        </p:grpSpPr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E48EE450-AA0D-94E7-406E-F7B4C906D844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6546505"/>
              <a:ext cx="485448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72151E6-A53B-8D01-5640-387475628F7D}"/>
                </a:ext>
              </a:extLst>
            </p:cNvPr>
            <p:cNvSpPr txBox="1"/>
            <p:nvPr/>
          </p:nvSpPr>
          <p:spPr>
            <a:xfrm>
              <a:off x="1049845" y="6465714"/>
              <a:ext cx="345856" cy="161583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</a:t>
              </a: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7B2E3E23-D2FF-B08D-0D24-DF3EBC09C768}"/>
              </a:ext>
            </a:extLst>
          </p:cNvPr>
          <p:cNvSpPr txBox="1"/>
          <p:nvPr/>
        </p:nvSpPr>
        <p:spPr>
          <a:xfrm>
            <a:off x="1559320" y="6618749"/>
            <a:ext cx="1064884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ventet</a:t>
            </a: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go-liv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F3E6531-5D86-A3A1-77A4-FBE84A456B59}"/>
              </a:ext>
            </a:extLst>
          </p:cNvPr>
          <p:cNvGrpSpPr/>
          <p:nvPr/>
        </p:nvGrpSpPr>
        <p:grpSpPr>
          <a:xfrm>
            <a:off x="1663971" y="6465714"/>
            <a:ext cx="588580" cy="161583"/>
            <a:chOff x="540120" y="6465714"/>
            <a:chExt cx="588580" cy="161583"/>
          </a:xfrm>
        </p:grpSpPr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21A7F672-D04F-65DE-A6C2-352E2FF75579}"/>
                </a:ext>
              </a:extLst>
            </p:cNvPr>
            <p:cNvCxnSpPr>
              <a:cxnSpLocks/>
            </p:cNvCxnSpPr>
            <p:nvPr/>
          </p:nvCxnSpPr>
          <p:spPr>
            <a:xfrm>
              <a:off x="643252" y="6546505"/>
              <a:ext cx="485448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490FF24-F2F8-6363-5FFF-D970259BB87E}"/>
                </a:ext>
              </a:extLst>
            </p:cNvPr>
            <p:cNvSpPr txBox="1"/>
            <p:nvPr/>
          </p:nvSpPr>
          <p:spPr>
            <a:xfrm>
              <a:off x="540120" y="6465714"/>
              <a:ext cx="304676" cy="161583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57E684F-136E-E697-7573-5E0DD163BA88}"/>
              </a:ext>
            </a:extLst>
          </p:cNvPr>
          <p:cNvGrpSpPr/>
          <p:nvPr/>
        </p:nvGrpSpPr>
        <p:grpSpPr>
          <a:xfrm>
            <a:off x="8217731" y="6546505"/>
            <a:ext cx="3765119" cy="233827"/>
            <a:chOff x="3796700" y="6546505"/>
            <a:chExt cx="3765119" cy="233827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4C03F09-01F1-9F8C-03B6-617E222AD0A9}"/>
                </a:ext>
              </a:extLst>
            </p:cNvPr>
            <p:cNvSpPr txBox="1"/>
            <p:nvPr/>
          </p:nvSpPr>
          <p:spPr>
            <a:xfrm>
              <a:off x="3796700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tbot</a:t>
              </a: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99CF4AAC-EFFC-6EC1-CA21-C085DC42503C}"/>
                </a:ext>
              </a:extLst>
            </p:cNvPr>
            <p:cNvCxnSpPr>
              <a:cxnSpLocks/>
            </p:cNvCxnSpPr>
            <p:nvPr/>
          </p:nvCxnSpPr>
          <p:spPr>
            <a:xfrm>
              <a:off x="3972732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89E24C2A-DA66-995E-F0F4-313567BF4AF5}"/>
                </a:ext>
              </a:extLst>
            </p:cNvPr>
            <p:cNvSpPr txBox="1"/>
            <p:nvPr/>
          </p:nvSpPr>
          <p:spPr>
            <a:xfrm>
              <a:off x="4532186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bot</a:t>
              </a:r>
            </a:p>
          </p:txBody>
        </p: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C201B33B-631A-6D80-EA6D-E0AD4CD9CFDA}"/>
                </a:ext>
              </a:extLst>
            </p:cNvPr>
            <p:cNvCxnSpPr>
              <a:cxnSpLocks/>
            </p:cNvCxnSpPr>
            <p:nvPr/>
          </p:nvCxnSpPr>
          <p:spPr>
            <a:xfrm>
              <a:off x="4708218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8526007-6F49-4E62-11CD-88D4E0FBD5A8}"/>
                </a:ext>
              </a:extLst>
            </p:cNvPr>
            <p:cNvSpPr txBox="1"/>
            <p:nvPr/>
          </p:nvSpPr>
          <p:spPr>
            <a:xfrm>
              <a:off x="5267672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</a:t>
              </a: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19DECC32-6253-2E69-407F-09E9B5E740BD}"/>
                </a:ext>
              </a:extLst>
            </p:cNvPr>
            <p:cNvCxnSpPr>
              <a:cxnSpLocks/>
            </p:cNvCxnSpPr>
            <p:nvPr/>
          </p:nvCxnSpPr>
          <p:spPr>
            <a:xfrm>
              <a:off x="5443704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CFB3926-1D47-FE0C-616B-91425D6882FD}"/>
                </a:ext>
              </a:extLst>
            </p:cNvPr>
            <p:cNvSpPr txBox="1"/>
            <p:nvPr/>
          </p:nvSpPr>
          <p:spPr>
            <a:xfrm>
              <a:off x="6003158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ve chat</a:t>
              </a:r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047ADB0D-D002-39A1-4987-CFAC5B741E34}"/>
                </a:ext>
              </a:extLst>
            </p:cNvPr>
            <p:cNvCxnSpPr>
              <a:cxnSpLocks/>
            </p:cNvCxnSpPr>
            <p:nvPr/>
          </p:nvCxnSpPr>
          <p:spPr>
            <a:xfrm>
              <a:off x="6179190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4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E3304E4-42F1-15B6-38BC-BA72D982F388}"/>
                </a:ext>
              </a:extLst>
            </p:cNvPr>
            <p:cNvSpPr txBox="1"/>
            <p:nvPr/>
          </p:nvSpPr>
          <p:spPr>
            <a:xfrm>
              <a:off x="6738645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ddannelse</a:t>
              </a:r>
              <a:endParaRPr kumimoji="0" lang="en-US" sz="105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689248CC-848D-0959-4D28-524EC120553F}"/>
                </a:ext>
              </a:extLst>
            </p:cNvPr>
            <p:cNvCxnSpPr>
              <a:cxnSpLocks/>
            </p:cNvCxnSpPr>
            <p:nvPr/>
          </p:nvCxnSpPr>
          <p:spPr>
            <a:xfrm>
              <a:off x="6914677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6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Arrow Connector 6">
            <a:extLst>
              <a:ext uri="{FF2B5EF4-FFF2-40B4-BE49-F238E27FC236}">
                <a16:creationId xmlns:a16="http://schemas.microsoft.com/office/drawing/2014/main" id="{8F07B892-0A19-3C82-1C9B-A42A667BA9B9}"/>
              </a:ext>
            </a:extLst>
          </p:cNvPr>
          <p:cNvCxnSpPr>
            <a:cxnSpLocks/>
          </p:cNvCxnSpPr>
          <p:nvPr/>
        </p:nvCxnSpPr>
        <p:spPr>
          <a:xfrm>
            <a:off x="759690" y="5054371"/>
            <a:ext cx="1250137" cy="0"/>
          </a:xfrm>
          <a:prstGeom prst="straightConnector1">
            <a:avLst/>
          </a:prstGeom>
          <a:ln w="57150" cmpd="sng">
            <a:solidFill>
              <a:srgbClr val="FF0000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6">
            <a:extLst>
              <a:ext uri="{FF2B5EF4-FFF2-40B4-BE49-F238E27FC236}">
                <a16:creationId xmlns:a16="http://schemas.microsoft.com/office/drawing/2014/main" id="{16BB9DF4-2B7F-DA64-3A87-9F4C668AC127}"/>
              </a:ext>
            </a:extLst>
          </p:cNvPr>
          <p:cNvSpPr txBox="1"/>
          <p:nvPr/>
        </p:nvSpPr>
        <p:spPr>
          <a:xfrm>
            <a:off x="82237" y="4725245"/>
            <a:ext cx="1102684" cy="48474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5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grering af eksisterende integrationer</a:t>
            </a:r>
            <a:r>
              <a:rPr kumimoji="0" lang="da-DK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</a:p>
        </p:txBody>
      </p:sp>
      <p:cxnSp>
        <p:nvCxnSpPr>
          <p:cNvPr id="34" name="Straight Arrow Connector 6">
            <a:extLst>
              <a:ext uri="{FF2B5EF4-FFF2-40B4-BE49-F238E27FC236}">
                <a16:creationId xmlns:a16="http://schemas.microsoft.com/office/drawing/2014/main" id="{2C194D26-E67B-DB1B-4390-C981F443802F}"/>
              </a:ext>
            </a:extLst>
          </p:cNvPr>
          <p:cNvCxnSpPr>
            <a:cxnSpLocks/>
          </p:cNvCxnSpPr>
          <p:nvPr/>
        </p:nvCxnSpPr>
        <p:spPr>
          <a:xfrm>
            <a:off x="2171188" y="5043879"/>
            <a:ext cx="9811662" cy="19611"/>
          </a:xfrm>
          <a:prstGeom prst="straightConnector1">
            <a:avLst/>
          </a:prstGeom>
          <a:ln w="57150" cmpd="sng">
            <a:solidFill>
              <a:srgbClr val="FF0000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25">
            <a:extLst>
              <a:ext uri="{FF2B5EF4-FFF2-40B4-BE49-F238E27FC236}">
                <a16:creationId xmlns:a16="http://schemas.microsoft.com/office/drawing/2014/main" id="{205BF2C4-514A-FD6E-6614-30FFA63EFC24}"/>
              </a:ext>
            </a:extLst>
          </p:cNvPr>
          <p:cNvSpPr txBox="1"/>
          <p:nvPr/>
        </p:nvSpPr>
        <p:spPr>
          <a:xfrm>
            <a:off x="2921907" y="4897798"/>
            <a:ext cx="127948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drulning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ye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grationer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648597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Muni Chatbot 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406921"/>
              </p:ext>
            </p:extLst>
          </p:nvPr>
        </p:nvGraphicFramePr>
        <p:xfrm>
          <a:off x="634649" y="3073327"/>
          <a:ext cx="10922697" cy="2616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460331"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2156620"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Indbyggede svar i 60 forskellige kategorier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Indbyggede svar i 60 forskellige kategorier (70%) + eksisterende borgervendt kommunalt indhold i boost.ai platformen (30%)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Bedre muligheder for hurtigere at udbygge nyt indhold i Muni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Bedre muligheder for lokale variabler via </a:t>
                      </a:r>
                      <a:r>
                        <a:rPr lang="da-DK" err="1"/>
                        <a:t>ProKom</a:t>
                      </a:r>
                      <a:endParaRPr lang="da-DK"/>
                    </a:p>
                    <a:p>
                      <a:pPr algn="ctr"/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DD8A2CEB-0AF0-6813-FDEC-147E44346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7577" y="-326456"/>
            <a:ext cx="3271685" cy="3274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565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2F14154-3FE9-6DCF-D10A-1FE899D21E67}"/>
              </a:ext>
            </a:extLst>
          </p:cNvPr>
          <p:cNvCxnSpPr>
            <a:cxnSpLocks/>
          </p:cNvCxnSpPr>
          <p:nvPr/>
        </p:nvCxnSpPr>
        <p:spPr>
          <a:xfrm flipV="1">
            <a:off x="310835" y="967972"/>
            <a:ext cx="0" cy="5579705"/>
          </a:xfrm>
          <a:prstGeom prst="line">
            <a:avLst/>
          </a:prstGeom>
          <a:ln w="19050">
            <a:solidFill>
              <a:srgbClr val="80A8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B20CB04-8CCC-DF4B-F041-D389A8F54F1A}"/>
              </a:ext>
            </a:extLst>
          </p:cNvPr>
          <p:cNvSpPr txBox="1">
            <a:spLocks/>
          </p:cNvSpPr>
          <p:nvPr/>
        </p:nvSpPr>
        <p:spPr bwMode="gray">
          <a:xfrm>
            <a:off x="245273" y="2962112"/>
            <a:ext cx="254860" cy="1614254"/>
          </a:xfrm>
          <a:prstGeom prst="rect">
            <a:avLst/>
          </a:prstGeom>
          <a:solidFill>
            <a:srgbClr val="1F4E58"/>
          </a:solidFill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>
              <a:defRPr/>
            </a:pPr>
            <a:r>
              <a:rPr lang="da-DK" sz="1200" b="1">
                <a:solidFill>
                  <a:schemeClr val="bg1"/>
                </a:solidFill>
                <a:latin typeface="Helvetica"/>
                <a:cs typeface="Calibri Light"/>
              </a:rPr>
              <a:t>MUNI</a:t>
            </a:r>
          </a:p>
        </p:txBody>
      </p: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F88DCCE2-BE54-9F77-7907-A57CBF89BEC9}"/>
              </a:ext>
            </a:extLst>
          </p:cNvPr>
          <p:cNvGrpSpPr/>
          <p:nvPr/>
        </p:nvGrpSpPr>
        <p:grpSpPr>
          <a:xfrm>
            <a:off x="676864" y="967972"/>
            <a:ext cx="10810156" cy="5585220"/>
            <a:chOff x="715722" y="684065"/>
            <a:chExt cx="10520507" cy="564544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F85D44B-6153-E4F7-5C4C-663D4543E523}"/>
                </a:ext>
              </a:extLst>
            </p:cNvPr>
            <p:cNvGrpSpPr/>
            <p:nvPr/>
          </p:nvGrpSpPr>
          <p:grpSpPr>
            <a:xfrm>
              <a:off x="739417" y="684065"/>
              <a:ext cx="1425757" cy="733202"/>
              <a:chOff x="739417" y="689851"/>
              <a:chExt cx="1425757" cy="733202"/>
            </a:xfrm>
            <a:gradFill>
              <a:gsLst>
                <a:gs pos="67000">
                  <a:schemeClr val="accent2">
                    <a:lumMod val="100000"/>
                  </a:schemeClr>
                </a:gs>
                <a:gs pos="6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74" name="Oval 58">
                <a:extLst>
                  <a:ext uri="{FF2B5EF4-FFF2-40B4-BE49-F238E27FC236}">
                    <a16:creationId xmlns:a16="http://schemas.microsoft.com/office/drawing/2014/main" id="{9598C6EB-6C0F-7BBD-E63C-754D88D2F4E9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Emner med links til information andetsteds</a:t>
                </a:r>
              </a:p>
              <a:p>
                <a:pPr algn="ctr">
                  <a:defRPr/>
                </a:pPr>
                <a:endParaRPr lang="da-DK" sz="900">
                  <a:solidFill>
                    <a:srgbClr val="000000"/>
                  </a:solidFill>
                  <a:latin typeface="Open Sans Light"/>
                  <a:ea typeface="Open Sans Light"/>
                  <a:cs typeface="Open Sans Light"/>
                </a:endParaRPr>
              </a:p>
              <a:p>
                <a:pPr>
                  <a:defRPr/>
                </a:pP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  <a:p>
                <a:pPr algn="ctr">
                  <a:defRPr/>
                </a:pP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2B853AC-3964-ECD7-C235-E3DA0BB3BF63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67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1D09BEA-9FE1-638B-8CB2-0C207ED469FB}"/>
                </a:ext>
              </a:extLst>
            </p:cNvPr>
            <p:cNvGrpSpPr/>
            <p:nvPr/>
          </p:nvGrpSpPr>
          <p:grpSpPr>
            <a:xfrm>
              <a:off x="2245959" y="684065"/>
              <a:ext cx="1425757" cy="733202"/>
              <a:chOff x="739417" y="689851"/>
              <a:chExt cx="1425757" cy="733202"/>
            </a:xfrm>
            <a:gradFill>
              <a:gsLst>
                <a:gs pos="17000">
                  <a:schemeClr val="accent2">
                    <a:lumMod val="100000"/>
                  </a:schemeClr>
                </a:gs>
                <a:gs pos="1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8" name="Oval 58">
                <a:extLst>
                  <a:ext uri="{FF2B5EF4-FFF2-40B4-BE49-F238E27FC236}">
                    <a16:creationId xmlns:a16="http://schemas.microsoft.com/office/drawing/2014/main" id="{4418FF83-5DF1-54BE-A287-6AB76EECED1C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0000">
                    <a:schemeClr val="accent2">
                      <a:lumMod val="100000"/>
                    </a:schemeClr>
                  </a:gs>
                  <a:gs pos="1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Aula</a:t>
                </a:r>
                <a:endParaRPr kumimoji="0"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AF8E15E-9276-0A9C-79C9-8B041572F72C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10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6C0291B-8853-10E0-9DD4-347BF3CCBF18}"/>
                </a:ext>
              </a:extLst>
            </p:cNvPr>
            <p:cNvGrpSpPr/>
            <p:nvPr/>
          </p:nvGrpSpPr>
          <p:grpSpPr>
            <a:xfrm>
              <a:off x="3752501" y="684065"/>
              <a:ext cx="1425757" cy="733202"/>
              <a:chOff x="739417" y="689851"/>
              <a:chExt cx="1425757" cy="733202"/>
            </a:xfrm>
            <a:gradFill>
              <a:gsLst>
                <a:gs pos="13000">
                  <a:schemeClr val="accent2">
                    <a:lumMod val="100000"/>
                  </a:schemeClr>
                </a:gs>
                <a:gs pos="13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1" name="Oval 58">
                <a:extLst>
                  <a:ext uri="{FF2B5EF4-FFF2-40B4-BE49-F238E27FC236}">
                    <a16:creationId xmlns:a16="http://schemas.microsoft.com/office/drawing/2014/main" id="{FD669E76-A8BC-B959-47A2-81907F2B061E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kumimoji="0" lang="da-DK" sz="90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 Light"/>
                    <a:ea typeface="Open Sans Light"/>
                    <a:cs typeface="Open Sans Light"/>
                  </a:rPr>
                  <a:t>Beboerindskudslån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2048B1A-D7D2-ED5D-1337-5553CE40C87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13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45DBEA7-CBB7-764B-F231-9470A15D9D6B}"/>
                </a:ext>
              </a:extLst>
            </p:cNvPr>
            <p:cNvGrpSpPr/>
            <p:nvPr/>
          </p:nvGrpSpPr>
          <p:grpSpPr>
            <a:xfrm>
              <a:off x="5259043" y="68406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1" name="Oval 58">
                <a:extLst>
                  <a:ext uri="{FF2B5EF4-FFF2-40B4-BE49-F238E27FC236}">
                    <a16:creationId xmlns:a16="http://schemas.microsoft.com/office/drawing/2014/main" id="{80A79305-7CDF-FC3F-FA42-05F7990E8BD3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kumimoji="0" lang="da-DK" sz="90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 Light"/>
                    <a:ea typeface="Open Sans Light"/>
                    <a:cs typeface="Open Sans Light"/>
                  </a:rPr>
                  <a:t>Beboerindskudslån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43E9D3C-D823-6C70-81C7-2E562C9FDCB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22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B05408F-BE86-4550-C536-41379BF8D849}"/>
                </a:ext>
              </a:extLst>
            </p:cNvPr>
            <p:cNvGrpSpPr/>
            <p:nvPr/>
          </p:nvGrpSpPr>
          <p:grpSpPr>
            <a:xfrm>
              <a:off x="6765585" y="68406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5" name="Oval 58">
                <a:extLst>
                  <a:ext uri="{FF2B5EF4-FFF2-40B4-BE49-F238E27FC236}">
                    <a16:creationId xmlns:a16="http://schemas.microsoft.com/office/drawing/2014/main" id="{2110AB8D-28D8-969C-A947-85090E57BD68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00000">
                    <a:schemeClr val="accent2">
                      <a:lumMod val="100000"/>
                    </a:schemeClr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kumimoji="0" lang="da-DK" sz="90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 Light"/>
                    <a:ea typeface="Open Sans Light"/>
                    <a:cs typeface="Open Sans Light"/>
                  </a:rPr>
                  <a:t>Borgertip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E1F3AE9-2313-9A26-CFDA-23C2C4ECED9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100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C3CA0DA-AEE3-6A02-8CCD-46181EA02DBA}"/>
                </a:ext>
              </a:extLst>
            </p:cNvPr>
            <p:cNvGrpSpPr/>
            <p:nvPr/>
          </p:nvGrpSpPr>
          <p:grpSpPr>
            <a:xfrm>
              <a:off x="8275885" y="684065"/>
              <a:ext cx="1425757" cy="733202"/>
              <a:chOff x="739417" y="689851"/>
              <a:chExt cx="1425757" cy="733202"/>
            </a:xfrm>
            <a:gradFill>
              <a:gsLst>
                <a:gs pos="45000">
                  <a:schemeClr val="accent2">
                    <a:lumMod val="100000"/>
                  </a:schemeClr>
                </a:gs>
                <a:gs pos="45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Oval 58">
                <a:extLst>
                  <a:ext uri="{FF2B5EF4-FFF2-40B4-BE49-F238E27FC236}">
                    <a16:creationId xmlns:a16="http://schemas.microsoft.com/office/drawing/2014/main" id="{9A5E758F-D959-C01E-385C-A76552CE7D8C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Byg og miljø</a:t>
                </a:r>
                <a:endParaRPr kumimoji="0"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777AA00-47F5-38EA-6285-A1AE113022C6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45</a:t>
                </a: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AA290D3-6014-3105-6EB8-19593952EA7D}"/>
                </a:ext>
              </a:extLst>
            </p:cNvPr>
            <p:cNvGrpSpPr/>
            <p:nvPr/>
          </p:nvGrpSpPr>
          <p:grpSpPr>
            <a:xfrm>
              <a:off x="9789271" y="684065"/>
              <a:ext cx="1425757" cy="733202"/>
              <a:chOff x="739417" y="689851"/>
              <a:chExt cx="1425757" cy="733202"/>
            </a:xfrm>
            <a:gradFill>
              <a:gsLst>
                <a:gs pos="17000">
                  <a:schemeClr val="accent2">
                    <a:lumMod val="100000"/>
                  </a:schemeClr>
                </a:gs>
                <a:gs pos="1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1" name="Oval 58">
                <a:extLst>
                  <a:ext uri="{FF2B5EF4-FFF2-40B4-BE49-F238E27FC236}">
                    <a16:creationId xmlns:a16="http://schemas.microsoft.com/office/drawing/2014/main" id="{EDA878F7-C7AC-1278-F7F2-F69BDA72545B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Byg og Miljø (specifikt for Aalborg)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E18B0D-2E42-3968-12A6-6A82B158913C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17%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C9C58C6-AED3-CC6D-B5F5-C8D18E2ABA13}"/>
                </a:ext>
              </a:extLst>
            </p:cNvPr>
            <p:cNvGrpSpPr/>
            <p:nvPr/>
          </p:nvGrpSpPr>
          <p:grpSpPr>
            <a:xfrm>
              <a:off x="739417" y="1504413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4" name="Oval 58">
                <a:extLst>
                  <a:ext uri="{FF2B5EF4-FFF2-40B4-BE49-F238E27FC236}">
                    <a16:creationId xmlns:a16="http://schemas.microsoft.com/office/drawing/2014/main" id="{81FFE87B-B392-2F9F-6755-04628DC58449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8000">
                    <a:schemeClr val="accent2">
                      <a:lumMod val="100000"/>
                    </a:schemeClr>
                  </a:gs>
                  <a:gs pos="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BBR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8BE6F31-7B5D-8ADC-9B40-D596BF395AF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8%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4F94F36-C964-D536-591F-567938633E54}"/>
                </a:ext>
              </a:extLst>
            </p:cNvPr>
            <p:cNvGrpSpPr/>
            <p:nvPr/>
          </p:nvGrpSpPr>
          <p:grpSpPr>
            <a:xfrm>
              <a:off x="2245959" y="1504413"/>
              <a:ext cx="1425757" cy="733202"/>
              <a:chOff x="739417" y="697690"/>
              <a:chExt cx="1425757" cy="733202"/>
            </a:xfrm>
            <a:gradFill>
              <a:gsLst>
                <a:gs pos="31000">
                  <a:schemeClr val="accent2">
                    <a:lumMod val="100000"/>
                  </a:schemeClr>
                </a:gs>
                <a:gs pos="31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7" name="Oval 58">
                <a:extLst>
                  <a:ext uri="{FF2B5EF4-FFF2-40B4-BE49-F238E27FC236}">
                    <a16:creationId xmlns:a16="http://schemas.microsoft.com/office/drawing/2014/main" id="{006CFEE5-F91D-0C60-FB6E-C96FD3F6FCDB}"/>
                  </a:ext>
                </a:extLst>
              </p:cNvPr>
              <p:cNvSpPr/>
              <p:nvPr/>
            </p:nvSpPr>
            <p:spPr bwMode="gray">
              <a:xfrm>
                <a:off x="739417" y="697690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Børnepasning og digital pladsanvisning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  <a:p>
                <a:pPr algn="ctr">
                  <a:defRPr/>
                </a:pP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30922AF-C93E-9CEC-9612-CCDBC94F1A9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31%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5E234E1-EBA9-8A5D-3E02-F5A021F9AE71}"/>
                </a:ext>
              </a:extLst>
            </p:cNvPr>
            <p:cNvGrpSpPr/>
            <p:nvPr/>
          </p:nvGrpSpPr>
          <p:grpSpPr>
            <a:xfrm>
              <a:off x="3752501" y="1504413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5" name="Oval 58">
                <a:extLst>
                  <a:ext uri="{FF2B5EF4-FFF2-40B4-BE49-F238E27FC236}">
                    <a16:creationId xmlns:a16="http://schemas.microsoft.com/office/drawing/2014/main" id="{D0B562BE-F74A-0261-68E6-B2B8D0526803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Digital Fuldmagt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CE89037-163E-3F98-CD79-40C7CA1072F7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807A4F2-2458-26A9-4A87-9CCCC8742C4A}"/>
                </a:ext>
              </a:extLst>
            </p:cNvPr>
            <p:cNvGrpSpPr/>
            <p:nvPr/>
          </p:nvGrpSpPr>
          <p:grpSpPr>
            <a:xfrm>
              <a:off x="5259043" y="1504413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8" name="Oval 58">
                <a:extLst>
                  <a:ext uri="{FF2B5EF4-FFF2-40B4-BE49-F238E27FC236}">
                    <a16:creationId xmlns:a16="http://schemas.microsoft.com/office/drawing/2014/main" id="{CCDE8344-303A-63D0-0C96-23D6330712FD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2000">
                    <a:schemeClr val="accent2">
                      <a:lumMod val="100000"/>
                    </a:schemeClr>
                  </a:gs>
                  <a:gs pos="12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Digital post og e-Boks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10145B07-C585-9251-5C78-64DCAFFCD7CA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12%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CBF8FD0-61AC-F4B8-3505-B2554D3D3CB6}"/>
                </a:ext>
              </a:extLst>
            </p:cNvPr>
            <p:cNvGrpSpPr/>
            <p:nvPr/>
          </p:nvGrpSpPr>
          <p:grpSpPr>
            <a:xfrm>
              <a:off x="6765585" y="1504413"/>
              <a:ext cx="1425757" cy="733202"/>
              <a:chOff x="739417" y="689851"/>
              <a:chExt cx="1425757" cy="733202"/>
            </a:xfrm>
            <a:gradFill>
              <a:gsLst>
                <a:gs pos="55000">
                  <a:schemeClr val="accent2">
                    <a:lumMod val="100000"/>
                  </a:schemeClr>
                </a:gs>
                <a:gs pos="55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" name="Oval 58">
                <a:extLst>
                  <a:ext uri="{FF2B5EF4-FFF2-40B4-BE49-F238E27FC236}">
                    <a16:creationId xmlns:a16="http://schemas.microsoft.com/office/drawing/2014/main" id="{600C324F-FC6F-223F-D998-A91B000C189E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Enkeltydelser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A568F6E-5AEE-35B7-B2CB-33E9BF9FAA0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55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FF00A1-756C-51ED-9A1D-11108C924956}"/>
                </a:ext>
              </a:extLst>
            </p:cNvPr>
            <p:cNvGrpSpPr/>
            <p:nvPr/>
          </p:nvGrpSpPr>
          <p:grpSpPr>
            <a:xfrm>
              <a:off x="8279644" y="1504413"/>
              <a:ext cx="1425757" cy="733202"/>
              <a:chOff x="739417" y="689851"/>
              <a:chExt cx="1425757" cy="733202"/>
            </a:xfrm>
            <a:gradFill>
              <a:gsLst>
                <a:gs pos="0">
                  <a:schemeClr val="accent2">
                    <a:lumMod val="100000"/>
                  </a:schemeClr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9" name="Oval 58">
                <a:extLst>
                  <a:ext uri="{FF2B5EF4-FFF2-40B4-BE49-F238E27FC236}">
                    <a16:creationId xmlns:a16="http://schemas.microsoft.com/office/drawing/2014/main" id="{D0208BCF-C234-9736-2DA5-80E44ADA6F54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amilieydelser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75FB650-CAAC-6FFF-B743-50CB33BB88B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D569D5A-6C95-767B-7C49-12C5B6A7A533}"/>
                </a:ext>
              </a:extLst>
            </p:cNvPr>
            <p:cNvGrpSpPr/>
            <p:nvPr/>
          </p:nvGrpSpPr>
          <p:grpSpPr>
            <a:xfrm>
              <a:off x="9783970" y="1504413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Oval 58">
                <a:extLst>
                  <a:ext uri="{FF2B5EF4-FFF2-40B4-BE49-F238E27FC236}">
                    <a16:creationId xmlns:a16="http://schemas.microsoft.com/office/drawing/2014/main" id="{FB3F86B4-D0EA-1282-6386-8856EF5AACE6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8000">
                    <a:schemeClr val="accent2">
                      <a:lumMod val="100000"/>
                    </a:schemeClr>
                  </a:gs>
                  <a:gs pos="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eriepenge og ferie på ydelser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37CB49E-CC09-04A2-0D6D-0E72B06EAD12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8%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0300119C-A637-A0F0-719C-0EB2F44A07DD}"/>
                </a:ext>
              </a:extLst>
            </p:cNvPr>
            <p:cNvGrpSpPr/>
            <p:nvPr/>
          </p:nvGrpSpPr>
          <p:grpSpPr>
            <a:xfrm>
              <a:off x="739416" y="233153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2" name="Oval 58">
                <a:extLst>
                  <a:ext uri="{FF2B5EF4-FFF2-40B4-BE49-F238E27FC236}">
                    <a16:creationId xmlns:a16="http://schemas.microsoft.com/office/drawing/2014/main" id="{5F03C4DA-AB88-336C-FFF4-61B1D11297BB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6000">
                    <a:schemeClr val="accent2">
                      <a:lumMod val="100000"/>
                    </a:schemeClr>
                  </a:gs>
                  <a:gs pos="56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lytning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A9C81BF3-A722-0D13-8101-132F6FBB4A3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56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486B5A7-947B-F808-88C4-0764555BDD44}"/>
                </a:ext>
              </a:extLst>
            </p:cNvPr>
            <p:cNvGrpSpPr/>
            <p:nvPr/>
          </p:nvGrpSpPr>
          <p:grpSpPr>
            <a:xfrm>
              <a:off x="2245958" y="233153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5" name="Oval 58">
                <a:extLst>
                  <a:ext uri="{FF2B5EF4-FFF2-40B4-BE49-F238E27FC236}">
                    <a16:creationId xmlns:a16="http://schemas.microsoft.com/office/drawing/2014/main" id="{61E09EE0-8E43-50FD-699A-25FF1419E2D7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3000">
                    <a:schemeClr val="accent2">
                      <a:lumMod val="100000"/>
                    </a:schemeClr>
                  </a:gs>
                  <a:gs pos="3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jernvarme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ABB5C2F-81FF-313B-110F-E905AB357029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33%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1DA5F92-3092-4CB8-D5AF-61E239B462EB}"/>
                </a:ext>
              </a:extLst>
            </p:cNvPr>
            <p:cNvGrpSpPr/>
            <p:nvPr/>
          </p:nvGrpSpPr>
          <p:grpSpPr>
            <a:xfrm>
              <a:off x="3752500" y="233153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Oval 58">
                <a:extLst>
                  <a:ext uri="{FF2B5EF4-FFF2-40B4-BE49-F238E27FC236}">
                    <a16:creationId xmlns:a16="http://schemas.microsoft.com/office/drawing/2014/main" id="{EE7DEA16-FEEB-915F-045F-381C3F73F646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0000">
                    <a:schemeClr val="accent2">
                      <a:lumMod val="100000"/>
                    </a:schemeClr>
                  </a:gs>
                  <a:gs pos="5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olkeregister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28E70881-AC9D-9FE5-AC2D-8D7324D0A7F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50%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DA118C0-71FC-1B84-421F-129A4057662B}"/>
                </a:ext>
              </a:extLst>
            </p:cNvPr>
            <p:cNvGrpSpPr/>
            <p:nvPr/>
          </p:nvGrpSpPr>
          <p:grpSpPr>
            <a:xfrm>
              <a:off x="5259042" y="2331532"/>
              <a:ext cx="1425757" cy="733202"/>
              <a:chOff x="739417" y="689851"/>
              <a:chExt cx="1425757" cy="733202"/>
            </a:xfrm>
            <a:gradFill>
              <a:gsLst>
                <a:gs pos="0">
                  <a:schemeClr val="accent2">
                    <a:lumMod val="100000"/>
                  </a:schemeClr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61" name="Oval 58">
                <a:extLst>
                  <a:ext uri="{FF2B5EF4-FFF2-40B4-BE49-F238E27FC236}">
                    <a16:creationId xmlns:a16="http://schemas.microsoft.com/office/drawing/2014/main" id="{B1E77544-87D7-B2C2-D387-86F71019A8F8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olkeregisterbøder (specifikt for Aarhus)</a:t>
                </a:r>
                <a:endParaRPr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DCE466E7-9FE1-EC9B-5A36-FA172C25B1E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0FA5364D-6C39-A047-E6BE-9930BE2CCE7B}"/>
                </a:ext>
              </a:extLst>
            </p:cNvPr>
            <p:cNvGrpSpPr/>
            <p:nvPr/>
          </p:nvGrpSpPr>
          <p:grpSpPr>
            <a:xfrm>
              <a:off x="6765584" y="2331532"/>
              <a:ext cx="1425757" cy="733202"/>
              <a:chOff x="739417" y="689851"/>
              <a:chExt cx="1425757" cy="733202"/>
            </a:xfrm>
            <a:gradFill>
              <a:gsLst>
                <a:gs pos="0">
                  <a:schemeClr val="accent2">
                    <a:lumMod val="100000"/>
                  </a:schemeClr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30" name="Oval 58">
                <a:extLst>
                  <a:ext uri="{FF2B5EF4-FFF2-40B4-BE49-F238E27FC236}">
                    <a16:creationId xmlns:a16="http://schemas.microsoft.com/office/drawing/2014/main" id="{19CFD421-04EE-7DF8-6FBC-D61B532728CA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Førtidspension (før og efter 2003)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FEDBB4FD-A758-EAD5-52EA-5E0CA19534D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8272172-A8AF-AEBB-418E-E7DB63F10415}"/>
                </a:ext>
              </a:extLst>
            </p:cNvPr>
            <p:cNvGrpSpPr/>
            <p:nvPr/>
          </p:nvGrpSpPr>
          <p:grpSpPr>
            <a:xfrm>
              <a:off x="8272126" y="233153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33" name="Oval 58">
                <a:extLst>
                  <a:ext uri="{FF2B5EF4-FFF2-40B4-BE49-F238E27FC236}">
                    <a16:creationId xmlns:a16="http://schemas.microsoft.com/office/drawing/2014/main" id="{BBFC1AE8-E92B-2B7E-FD0E-AB5BDB72836C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Grundlisten og lægdommere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F23D8344-F375-D441-4A80-7862A65EAA6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5FC5A186-5F14-DB5F-7D01-2E07F8C18749}"/>
                </a:ext>
              </a:extLst>
            </p:cNvPr>
            <p:cNvGrpSpPr/>
            <p:nvPr/>
          </p:nvGrpSpPr>
          <p:grpSpPr>
            <a:xfrm>
              <a:off x="736235" y="314887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39" name="Oval 58">
                <a:extLst>
                  <a:ext uri="{FF2B5EF4-FFF2-40B4-BE49-F238E27FC236}">
                    <a16:creationId xmlns:a16="http://schemas.microsoft.com/office/drawing/2014/main" id="{9E7D4077-F76C-30BD-B7D7-419E52781B62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64000">
                    <a:schemeClr val="accent2">
                      <a:lumMod val="100000"/>
                    </a:schemeClr>
                  </a:gs>
                  <a:gs pos="64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Helbredstillæg </a:t>
                </a:r>
              </a:p>
              <a:p>
                <a:pPr algn="ctr">
                  <a:defRPr/>
                </a:pPr>
                <a:r>
                  <a:rPr lang="da-DK" sz="6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(personligt tillæg, almindeligt- og udvidet helbredstillæg)</a:t>
                </a:r>
                <a:endParaRPr lang="en-US" sz="600">
                  <a:latin typeface="Open Sans Light"/>
                  <a:ea typeface="Open Sans Light"/>
                  <a:cs typeface="Open Sans Light"/>
                </a:endParaRPr>
              </a:p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a-DK" sz="90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B82C1F79-D2F1-7E0E-7D6D-09AFB10E71A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64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6A807891-F4B8-D915-4E46-FC9ECE292BA3}"/>
                </a:ext>
              </a:extLst>
            </p:cNvPr>
            <p:cNvGrpSpPr/>
            <p:nvPr/>
          </p:nvGrpSpPr>
          <p:grpSpPr>
            <a:xfrm>
              <a:off x="2251925" y="314887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42" name="Oval 58">
                <a:extLst>
                  <a:ext uri="{FF2B5EF4-FFF2-40B4-BE49-F238E27FC236}">
                    <a16:creationId xmlns:a16="http://schemas.microsoft.com/office/drawing/2014/main" id="{5BCD1EB3-1C0F-E735-C0BD-D0129940E220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41000">
                    <a:schemeClr val="accent2">
                      <a:lumMod val="100000"/>
                    </a:schemeClr>
                  </a:gs>
                  <a:gs pos="41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Hjælpemidler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146F4EB0-3C9D-185C-16EC-FC1824B667E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41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09ADAC2E-03E8-4C64-24B1-B3FA45A02209}"/>
                </a:ext>
              </a:extLst>
            </p:cNvPr>
            <p:cNvGrpSpPr/>
            <p:nvPr/>
          </p:nvGrpSpPr>
          <p:grpSpPr>
            <a:xfrm>
              <a:off x="3757944" y="314887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45" name="Oval 58">
                <a:extLst>
                  <a:ext uri="{FF2B5EF4-FFF2-40B4-BE49-F238E27FC236}">
                    <a16:creationId xmlns:a16="http://schemas.microsoft.com/office/drawing/2014/main" id="{FCC08DCF-CE16-515E-7287-4508723A9905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1000">
                    <a:schemeClr val="accent2">
                      <a:lumMod val="100000"/>
                    </a:schemeClr>
                  </a:gs>
                  <a:gs pos="11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Jobnet.dk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4FBEE2EE-AF73-BA45-269F-806D4D2FD96F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11</a:t>
                </a: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11909A64-8B98-61C1-BA64-668B96151DF5}"/>
                </a:ext>
              </a:extLst>
            </p:cNvPr>
            <p:cNvGrpSpPr/>
            <p:nvPr/>
          </p:nvGrpSpPr>
          <p:grpSpPr>
            <a:xfrm>
              <a:off x="5278379" y="3148875"/>
              <a:ext cx="1425757" cy="733202"/>
              <a:chOff x="739417" y="689851"/>
              <a:chExt cx="1425757" cy="733202"/>
            </a:xfrm>
            <a:gradFill>
              <a:gsLst>
                <a:gs pos="57000">
                  <a:schemeClr val="accent2">
                    <a:lumMod val="100000"/>
                  </a:schemeClr>
                </a:gs>
                <a:gs pos="5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48" name="Oval 58">
                <a:extLst>
                  <a:ext uri="{FF2B5EF4-FFF2-40B4-BE49-F238E27FC236}">
                    <a16:creationId xmlns:a16="http://schemas.microsoft.com/office/drawing/2014/main" id="{1B32726D-99EC-F2C5-C98D-26E140079B95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Job på særlige vilkår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A5493650-43B2-87DC-12A1-1C3997554902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57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486838A-2C60-A795-5BE6-89DB25C520DE}"/>
                </a:ext>
              </a:extLst>
            </p:cNvPr>
            <p:cNvGrpSpPr/>
            <p:nvPr/>
          </p:nvGrpSpPr>
          <p:grpSpPr>
            <a:xfrm>
              <a:off x="9778669" y="233153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8" name="Oval 58">
                <a:extLst>
                  <a:ext uri="{FF2B5EF4-FFF2-40B4-BE49-F238E27FC236}">
                    <a16:creationId xmlns:a16="http://schemas.microsoft.com/office/drawing/2014/main" id="{46C13835-03B3-396A-D404-C058D7E4F938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Handicapkompenserende ordninger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0C39747D-A1F0-4BE7-2ED2-0FD5BBED5261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53E7D9-9F2B-D310-EE90-3B8863EA88D0}"/>
                </a:ext>
              </a:extLst>
            </p:cNvPr>
            <p:cNvGrpSpPr/>
            <p:nvPr/>
          </p:nvGrpSpPr>
          <p:grpSpPr>
            <a:xfrm>
              <a:off x="6765993" y="3148875"/>
              <a:ext cx="1425757" cy="733202"/>
              <a:chOff x="739417" y="689851"/>
              <a:chExt cx="1425757" cy="733202"/>
            </a:xfrm>
            <a:gradFill>
              <a:gsLst>
                <a:gs pos="57000">
                  <a:schemeClr val="accent2">
                    <a:lumMod val="100000"/>
                  </a:schemeClr>
                </a:gs>
                <a:gs pos="5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28" name="Oval 58">
                <a:extLst>
                  <a:ext uri="{FF2B5EF4-FFF2-40B4-BE49-F238E27FC236}">
                    <a16:creationId xmlns:a16="http://schemas.microsoft.com/office/drawing/2014/main" id="{113AAB90-2833-530F-6914-7DB2158A0FDD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7000">
                    <a:schemeClr val="accent2">
                      <a:lumMod val="100000"/>
                    </a:schemeClr>
                  </a:gs>
                  <a:gs pos="17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latin typeface="Open Sans Light"/>
                    <a:ea typeface="Open Sans Light"/>
                    <a:cs typeface="Open Sans Light"/>
                  </a:rPr>
                  <a:t>Kontanthjælp </a:t>
                </a:r>
              </a:p>
              <a:p>
                <a:pPr algn="ctr">
                  <a:defRPr/>
                </a:pPr>
                <a:r>
                  <a:rPr lang="da-DK" sz="600">
                    <a:latin typeface="Open Sans Light"/>
                    <a:ea typeface="Open Sans Light"/>
                    <a:cs typeface="Open Sans Light"/>
                  </a:rPr>
                  <a:t>(ungesats, 30 eller derover, uddannelseshjælp, Selvforsørgelses- og hjemrejseydelse eller overgangsydelse)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2C84AAE1-FB03-B045-FCE4-5E842C2F3818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17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E8F1EAE6-8163-8E1C-4B7A-6B681CBDC265}"/>
                </a:ext>
              </a:extLst>
            </p:cNvPr>
            <p:cNvGrpSpPr/>
            <p:nvPr/>
          </p:nvGrpSpPr>
          <p:grpSpPr>
            <a:xfrm>
              <a:off x="8290921" y="3148875"/>
              <a:ext cx="1425757" cy="733202"/>
              <a:chOff x="739417" y="689851"/>
              <a:chExt cx="1425757" cy="733202"/>
            </a:xfrm>
            <a:gradFill>
              <a:gsLst>
                <a:gs pos="57000">
                  <a:schemeClr val="accent2">
                    <a:lumMod val="100000"/>
                  </a:schemeClr>
                </a:gs>
                <a:gs pos="5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3" name="Oval 58">
                <a:extLst>
                  <a:ext uri="{FF2B5EF4-FFF2-40B4-BE49-F238E27FC236}">
                    <a16:creationId xmlns:a16="http://schemas.microsoft.com/office/drawing/2014/main" id="{5BC855CB-EF7A-2674-7BB4-A50A33F36038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5000">
                    <a:schemeClr val="accent2">
                      <a:lumMod val="100000"/>
                    </a:schemeClr>
                  </a:gs>
                  <a:gs pos="55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latin typeface="Open Sans Light"/>
                    <a:ea typeface="Open Sans Light"/>
                    <a:cs typeface="Open Sans Light"/>
                  </a:rPr>
                  <a:t>Kørekort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B05BBAE6-65E6-3B98-9BBA-45C83B7607C3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55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5011C693-DCF1-0B29-B9DF-8E6EC69F4DC5}"/>
                </a:ext>
              </a:extLst>
            </p:cNvPr>
            <p:cNvGrpSpPr/>
            <p:nvPr/>
          </p:nvGrpSpPr>
          <p:grpSpPr>
            <a:xfrm>
              <a:off x="9805174" y="3148875"/>
              <a:ext cx="1425757" cy="733202"/>
              <a:chOff x="739417" y="689851"/>
              <a:chExt cx="1425757" cy="733202"/>
            </a:xfrm>
            <a:gradFill>
              <a:gsLst>
                <a:gs pos="57000">
                  <a:schemeClr val="accent2">
                    <a:lumMod val="100000"/>
                  </a:schemeClr>
                </a:gs>
                <a:gs pos="5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6" name="Oval 58">
                <a:extLst>
                  <a:ext uri="{FF2B5EF4-FFF2-40B4-BE49-F238E27FC236}">
                    <a16:creationId xmlns:a16="http://schemas.microsoft.com/office/drawing/2014/main" id="{AA6975F3-FA39-2DA1-A887-CE6360B727ED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3000">
                    <a:schemeClr val="accent2">
                      <a:lumMod val="100000"/>
                    </a:schemeClr>
                  </a:gs>
                  <a:gs pos="3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latin typeface="Open Sans Light"/>
                    <a:ea typeface="Open Sans Light"/>
                    <a:cs typeface="Open Sans Light"/>
                  </a:rPr>
                  <a:t>Ledighed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148046F2-4E00-8B1D-6D4F-9621C9F2BFBE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latin typeface="Open Sans"/>
                    <a:ea typeface="Open Sans"/>
                    <a:cs typeface="Open Sans"/>
                    <a:sym typeface="Open Sans"/>
                  </a:rPr>
                  <a:t>33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D4213C06-31DB-34D7-FA5D-10D5990D2C98}"/>
                </a:ext>
              </a:extLst>
            </p:cNvPr>
            <p:cNvGrpSpPr/>
            <p:nvPr/>
          </p:nvGrpSpPr>
          <p:grpSpPr>
            <a:xfrm>
              <a:off x="738645" y="3962684"/>
              <a:ext cx="1425757" cy="733202"/>
              <a:chOff x="739417" y="689851"/>
              <a:chExt cx="1425757" cy="733202"/>
            </a:xfrm>
            <a:gradFill>
              <a:gsLst>
                <a:gs pos="57000">
                  <a:schemeClr val="accent2">
                    <a:lumMod val="100000"/>
                  </a:schemeClr>
                </a:gs>
                <a:gs pos="57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9" name="Oval 58">
                <a:extLst>
                  <a:ext uri="{FF2B5EF4-FFF2-40B4-BE49-F238E27FC236}">
                    <a16:creationId xmlns:a16="http://schemas.microsoft.com/office/drawing/2014/main" id="{6963C09B-10E3-9F13-D963-526AE83F601C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3000">
                    <a:schemeClr val="accent2">
                      <a:lumMod val="100000"/>
                    </a:schemeClr>
                  </a:gs>
                  <a:gs pos="3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latin typeface="Open Sans Light"/>
                    <a:ea typeface="Open Sans Light"/>
                    <a:cs typeface="Open Sans Light"/>
                  </a:rPr>
                  <a:t>Lægeskift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FEEB224E-80A8-59C7-235C-649251EC935F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latin typeface="Open Sans"/>
                    <a:ea typeface="Open Sans"/>
                    <a:cs typeface="Open Sans"/>
                    <a:sym typeface="Open Sans"/>
                  </a:rPr>
                  <a:t>33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B8AECD-8FE0-21D1-E9E2-E746BC465F9C}"/>
                </a:ext>
              </a:extLst>
            </p:cNvPr>
            <p:cNvGrpSpPr/>
            <p:nvPr/>
          </p:nvGrpSpPr>
          <p:grpSpPr>
            <a:xfrm>
              <a:off x="2252398" y="3962684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62" name="Oval 58">
                <a:extLst>
                  <a:ext uri="{FF2B5EF4-FFF2-40B4-BE49-F238E27FC236}">
                    <a16:creationId xmlns:a16="http://schemas.microsoft.com/office/drawing/2014/main" id="{FBA0CA15-DA23-7F9B-4081-F2E603EE3664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40000">
                    <a:schemeClr val="accent2">
                      <a:lumMod val="100000"/>
                    </a:schemeClr>
                  </a:gs>
                  <a:gs pos="4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MitID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6F68634A-1163-BD9A-D6B1-0996113AFF1C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latin typeface="Open Sans"/>
                    <a:ea typeface="Open Sans"/>
                    <a:cs typeface="Open Sans"/>
                    <a:sym typeface="Open Sans"/>
                  </a:rPr>
                  <a:t>40%</a:t>
                </a:r>
                <a:endParaRPr kumimoji="0" lang="da-DK" sz="1100" b="1" i="0" u="none" strike="noStrike" cap="none" spc="0" normalizeH="0" baseline="0">
                  <a:ln>
                    <a:noFill/>
                  </a:ln>
                  <a:effectLst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38C8ADB9-BD70-DB25-14EB-D6AF25C05A62}"/>
                </a:ext>
              </a:extLst>
            </p:cNvPr>
            <p:cNvGrpSpPr/>
            <p:nvPr/>
          </p:nvGrpSpPr>
          <p:grpSpPr>
            <a:xfrm>
              <a:off x="3752500" y="3962684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71" name="Oval 58">
                <a:extLst>
                  <a:ext uri="{FF2B5EF4-FFF2-40B4-BE49-F238E27FC236}">
                    <a16:creationId xmlns:a16="http://schemas.microsoft.com/office/drawing/2014/main" id="{0F507EAF-5591-C6A3-C56D-72B9DA97D9A0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8000">
                    <a:schemeClr val="accent2">
                      <a:lumMod val="100000"/>
                    </a:schemeClr>
                  </a:gs>
                  <a:gs pos="1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Navneændring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A420BEA4-0534-7CD9-A5D0-13C89DDE75EB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18%</a:t>
                </a: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987E141B-6472-966D-A705-A383A4770E46}"/>
                </a:ext>
              </a:extLst>
            </p:cNvPr>
            <p:cNvGrpSpPr/>
            <p:nvPr/>
          </p:nvGrpSpPr>
          <p:grpSpPr>
            <a:xfrm>
              <a:off x="5283014" y="3962684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78" name="Oval 58">
                <a:extLst>
                  <a:ext uri="{FF2B5EF4-FFF2-40B4-BE49-F238E27FC236}">
                    <a16:creationId xmlns:a16="http://schemas.microsoft.com/office/drawing/2014/main" id="{2200269A-DA2C-5889-29D5-9F43A23B475F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8000">
                    <a:schemeClr val="accent2">
                      <a:lumMod val="100000"/>
                    </a:schemeClr>
                  </a:gs>
                  <a:gs pos="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Opkrævningen (specifikt for Aarhus)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F768C839-E9E3-13F1-9C9E-51D0E5F8492C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8%</a:t>
                </a:r>
              </a:p>
            </p:txBody>
          </p: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7D6434F-78AC-309E-AE3B-DFF20B3ACD73}"/>
                </a:ext>
              </a:extLst>
            </p:cNvPr>
            <p:cNvGrpSpPr/>
            <p:nvPr/>
          </p:nvGrpSpPr>
          <p:grpSpPr>
            <a:xfrm>
              <a:off x="6777049" y="3973684"/>
              <a:ext cx="1425757" cy="733202"/>
              <a:chOff x="739417" y="689851"/>
              <a:chExt cx="1425757" cy="733202"/>
            </a:xfrm>
            <a:gradFill>
              <a:gsLst>
                <a:gs pos="31000">
                  <a:schemeClr val="accent2">
                    <a:lumMod val="100000"/>
                  </a:schemeClr>
                </a:gs>
                <a:gs pos="31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90" name="Oval 58">
                <a:extLst>
                  <a:ext uri="{FF2B5EF4-FFF2-40B4-BE49-F238E27FC236}">
                    <a16:creationId xmlns:a16="http://schemas.microsoft.com/office/drawing/2014/main" id="{D32EE955-AA7E-A30A-8B92-A3FC1884E9D6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Parkering (specifikt for Aalborg)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D1C43159-EEF9-EC9D-6EB8-8A6C562986A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31%</a:t>
                </a:r>
              </a:p>
            </p:txBody>
          </p:sp>
        </p:grpSp>
        <p:grpSp>
          <p:nvGrpSpPr>
            <p:cNvPr id="257" name="Group 256">
              <a:extLst>
                <a:ext uri="{FF2B5EF4-FFF2-40B4-BE49-F238E27FC236}">
                  <a16:creationId xmlns:a16="http://schemas.microsoft.com/office/drawing/2014/main" id="{239BB139-602E-19A3-2943-B40E71C9DB8E}"/>
                </a:ext>
              </a:extLst>
            </p:cNvPr>
            <p:cNvGrpSpPr/>
            <p:nvPr/>
          </p:nvGrpSpPr>
          <p:grpSpPr>
            <a:xfrm>
              <a:off x="8287162" y="3962684"/>
              <a:ext cx="1425757" cy="733202"/>
              <a:chOff x="739417" y="689851"/>
              <a:chExt cx="1425757" cy="733202"/>
            </a:xfrm>
            <a:gradFill>
              <a:gsLst>
                <a:gs pos="66000">
                  <a:schemeClr val="accent2">
                    <a:lumMod val="100000"/>
                  </a:schemeClr>
                </a:gs>
                <a:gs pos="66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58" name="Oval 58">
                <a:extLst>
                  <a:ext uri="{FF2B5EF4-FFF2-40B4-BE49-F238E27FC236}">
                    <a16:creationId xmlns:a16="http://schemas.microsoft.com/office/drawing/2014/main" id="{C1082697-6FDD-B6EA-FF55-3C92707EC711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latin typeface="Open Sans Light"/>
                    <a:ea typeface="Open Sans Light"/>
                    <a:cs typeface="Open Sans Light"/>
                  </a:rPr>
                  <a:t>Pas</a:t>
                </a:r>
                <a:endParaRPr lang="en-US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259" name="TextBox 258">
                <a:extLst>
                  <a:ext uri="{FF2B5EF4-FFF2-40B4-BE49-F238E27FC236}">
                    <a16:creationId xmlns:a16="http://schemas.microsoft.com/office/drawing/2014/main" id="{50D005DF-DDFA-7D33-E060-A949428004EE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66%</a:t>
                </a:r>
              </a:p>
            </p:txBody>
          </p: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B9A0DC17-657D-211F-546F-EE2C5838CCC7}"/>
                </a:ext>
              </a:extLst>
            </p:cNvPr>
            <p:cNvGrpSpPr/>
            <p:nvPr/>
          </p:nvGrpSpPr>
          <p:grpSpPr>
            <a:xfrm>
              <a:off x="9799873" y="3962684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61" name="Oval 58">
                <a:extLst>
                  <a:ext uri="{FF2B5EF4-FFF2-40B4-BE49-F238E27FC236}">
                    <a16:creationId xmlns:a16="http://schemas.microsoft.com/office/drawing/2014/main" id="{7CF3718B-F512-5534-74BA-A8B493FF444C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Pasning af nærtstående med betydeligt handicap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262" name="TextBox 261">
                <a:extLst>
                  <a:ext uri="{FF2B5EF4-FFF2-40B4-BE49-F238E27FC236}">
                    <a16:creationId xmlns:a16="http://schemas.microsoft.com/office/drawing/2014/main" id="{4A2DBBEA-C47F-2104-A98E-924A75A2BF0F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45C23980-B1A8-B904-7E85-B9D36C5A80E2}"/>
                </a:ext>
              </a:extLst>
            </p:cNvPr>
            <p:cNvGrpSpPr/>
            <p:nvPr/>
          </p:nvGrpSpPr>
          <p:grpSpPr>
            <a:xfrm>
              <a:off x="719365" y="477545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64" name="Oval 58">
                <a:extLst>
                  <a:ext uri="{FF2B5EF4-FFF2-40B4-BE49-F238E27FC236}">
                    <a16:creationId xmlns:a16="http://schemas.microsoft.com/office/drawing/2014/main" id="{A98CB767-ECE5-9878-B773-35A63E4190CB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Pension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265" name="TextBox 264">
                <a:extLst>
                  <a:ext uri="{FF2B5EF4-FFF2-40B4-BE49-F238E27FC236}">
                    <a16:creationId xmlns:a16="http://schemas.microsoft.com/office/drawing/2014/main" id="{5F9C2263-A475-1648-48B4-A5A0EC719A46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9646FCC0-3494-D668-B102-FE79E1FE9670}"/>
                </a:ext>
              </a:extLst>
            </p:cNvPr>
            <p:cNvGrpSpPr/>
            <p:nvPr/>
          </p:nvGrpSpPr>
          <p:grpSpPr>
            <a:xfrm>
              <a:off x="2230161" y="477545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97" name="Oval 58">
                <a:extLst>
                  <a:ext uri="{FF2B5EF4-FFF2-40B4-BE49-F238E27FC236}">
                    <a16:creationId xmlns:a16="http://schemas.microsoft.com/office/drawing/2014/main" id="{2754D1AF-E20F-5A1F-CFD0-3B3D6555A9B5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0000">
                    <a:schemeClr val="accent2">
                      <a:lumMod val="100000"/>
                    </a:schemeClr>
                  </a:gs>
                  <a:gs pos="5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latin typeface="Open Sans Light"/>
                    <a:ea typeface="Open Sans Light"/>
                    <a:cs typeface="Open Sans Light"/>
                  </a:rPr>
                  <a:t>Pension, andre emner</a:t>
                </a:r>
                <a:endParaRPr lang="da-DK" sz="900">
                  <a:latin typeface="Open Sans Light"/>
                  <a:ea typeface="Open Sans Light"/>
                  <a:cs typeface="Open Sans Light"/>
                </a:endParaRPr>
              </a:p>
            </p:txBody>
          </p:sp>
          <p:sp>
            <p:nvSpPr>
              <p:cNvPr id="319" name="TextBox 318">
                <a:extLst>
                  <a:ext uri="{FF2B5EF4-FFF2-40B4-BE49-F238E27FC236}">
                    <a16:creationId xmlns:a16="http://schemas.microsoft.com/office/drawing/2014/main" id="{B7F2F7EB-A343-1C57-4F88-7F83C0DFADD7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50%</a:t>
                </a:r>
              </a:p>
            </p:txBody>
          </p:sp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7E77F5EE-4B06-659C-AE13-244D275F58C7}"/>
                </a:ext>
              </a:extLst>
            </p:cNvPr>
            <p:cNvGrpSpPr/>
            <p:nvPr/>
          </p:nvGrpSpPr>
          <p:grpSpPr>
            <a:xfrm>
              <a:off x="3740957" y="477545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21" name="Oval 58">
                <a:extLst>
                  <a:ext uri="{FF2B5EF4-FFF2-40B4-BE49-F238E27FC236}">
                    <a16:creationId xmlns:a16="http://schemas.microsoft.com/office/drawing/2014/main" id="{9552F448-CA3F-4282-4264-B0A25A82CC5B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/>
                  <a:t>Plejevederlag</a:t>
                </a:r>
                <a:endParaRPr lang="en-US" sz="900"/>
              </a:p>
            </p:txBody>
          </p:sp>
          <p:sp>
            <p:nvSpPr>
              <p:cNvPr id="343" name="TextBox 342">
                <a:extLst>
                  <a:ext uri="{FF2B5EF4-FFF2-40B4-BE49-F238E27FC236}">
                    <a16:creationId xmlns:a16="http://schemas.microsoft.com/office/drawing/2014/main" id="{5822456B-EA70-1D1D-8FA6-D601D3A74D34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462C3DDE-A560-5387-4567-A9D54BC3BB1D}"/>
                </a:ext>
              </a:extLst>
            </p:cNvPr>
            <p:cNvGrpSpPr/>
            <p:nvPr/>
          </p:nvGrpSpPr>
          <p:grpSpPr>
            <a:xfrm>
              <a:off x="5251753" y="4783242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45" name="Oval 58">
                <a:extLst>
                  <a:ext uri="{FF2B5EF4-FFF2-40B4-BE49-F238E27FC236}">
                    <a16:creationId xmlns:a16="http://schemas.microsoft.com/office/drawing/2014/main" id="{4EEF0531-562A-2268-6892-B97CE9C53F37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13000">
                    <a:schemeClr val="accent2">
                      <a:lumMod val="100000"/>
                    </a:schemeClr>
                  </a:gs>
                  <a:gs pos="1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Rottebekæmpelse</a:t>
                </a:r>
                <a:endParaRPr lang="en-US" sz="900"/>
              </a:p>
            </p:txBody>
          </p:sp>
          <p:sp>
            <p:nvSpPr>
              <p:cNvPr id="346" name="TextBox 345">
                <a:extLst>
                  <a:ext uri="{FF2B5EF4-FFF2-40B4-BE49-F238E27FC236}">
                    <a16:creationId xmlns:a16="http://schemas.microsoft.com/office/drawing/2014/main" id="{B9C385CF-8F3D-CF1E-244F-0D63F173D5C0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13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1B161F91-6F87-8E79-C5DF-1A6D1822E064}"/>
                </a:ext>
              </a:extLst>
            </p:cNvPr>
            <p:cNvGrpSpPr/>
            <p:nvPr/>
          </p:nvGrpSpPr>
          <p:grpSpPr>
            <a:xfrm>
              <a:off x="6762549" y="4791716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48" name="Oval 58">
                <a:extLst>
                  <a:ext uri="{FF2B5EF4-FFF2-40B4-BE49-F238E27FC236}">
                    <a16:creationId xmlns:a16="http://schemas.microsoft.com/office/drawing/2014/main" id="{5BC340B5-2308-E3F0-7FB2-64B5BDE64C60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43000">
                    <a:schemeClr val="accent2">
                      <a:lumMod val="100000"/>
                    </a:schemeClr>
                  </a:gs>
                  <a:gs pos="4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Skoleindskrivning</a:t>
                </a:r>
                <a:endParaRPr lang="da-DK" sz="900"/>
              </a:p>
            </p:txBody>
          </p:sp>
          <p:sp>
            <p:nvSpPr>
              <p:cNvPr id="349" name="TextBox 348">
                <a:extLst>
                  <a:ext uri="{FF2B5EF4-FFF2-40B4-BE49-F238E27FC236}">
                    <a16:creationId xmlns:a16="http://schemas.microsoft.com/office/drawing/2014/main" id="{FF8607F7-42DA-AC53-15C8-B43085998EE3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43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350" name="Group 349">
              <a:extLst>
                <a:ext uri="{FF2B5EF4-FFF2-40B4-BE49-F238E27FC236}">
                  <a16:creationId xmlns:a16="http://schemas.microsoft.com/office/drawing/2014/main" id="{D0F54A79-89A8-FCA5-B098-7E1995D3FF75}"/>
                </a:ext>
              </a:extLst>
            </p:cNvPr>
            <p:cNvGrpSpPr/>
            <p:nvPr/>
          </p:nvGrpSpPr>
          <p:grpSpPr>
            <a:xfrm>
              <a:off x="8283403" y="477545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51" name="Oval 58">
                <a:extLst>
                  <a:ext uri="{FF2B5EF4-FFF2-40B4-BE49-F238E27FC236}">
                    <a16:creationId xmlns:a16="http://schemas.microsoft.com/office/drawing/2014/main" id="{AE1481C6-3F9C-D321-A317-ED461F1291DD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8000">
                    <a:schemeClr val="accent2">
                      <a:lumMod val="100000"/>
                    </a:schemeClr>
                  </a:gs>
                  <a:gs pos="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Skoletransport (Specifikt for Aalborg)</a:t>
                </a:r>
                <a:endParaRPr lang="en-US" sz="900"/>
              </a:p>
            </p:txBody>
          </p:sp>
          <p:sp>
            <p:nvSpPr>
              <p:cNvPr id="352" name="TextBox 351">
                <a:extLst>
                  <a:ext uri="{FF2B5EF4-FFF2-40B4-BE49-F238E27FC236}">
                    <a16:creationId xmlns:a16="http://schemas.microsoft.com/office/drawing/2014/main" id="{CCCD3FCA-28AA-B14B-17CA-9871F73020D2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8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D454759A-3AF8-6342-35A5-77B95D0AE63C}"/>
                </a:ext>
              </a:extLst>
            </p:cNvPr>
            <p:cNvGrpSpPr/>
            <p:nvPr/>
          </p:nvGrpSpPr>
          <p:grpSpPr>
            <a:xfrm>
              <a:off x="9794572" y="477545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54" name="Oval 58">
                <a:extLst>
                  <a:ext uri="{FF2B5EF4-FFF2-40B4-BE49-F238E27FC236}">
                    <a16:creationId xmlns:a16="http://schemas.microsoft.com/office/drawing/2014/main" id="{61B0CF84-44FC-E614-C5C9-A51A711BB4EA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3000">
                    <a:schemeClr val="accent2">
                      <a:lumMod val="100000"/>
                    </a:schemeClr>
                  </a:gs>
                  <a:gs pos="33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Skole (ikke indskrivning)</a:t>
                </a:r>
                <a:endParaRPr lang="en-US" sz="900"/>
              </a:p>
            </p:txBody>
          </p:sp>
          <p:sp>
            <p:nvSpPr>
              <p:cNvPr id="355" name="TextBox 354">
                <a:extLst>
                  <a:ext uri="{FF2B5EF4-FFF2-40B4-BE49-F238E27FC236}">
                    <a16:creationId xmlns:a16="http://schemas.microsoft.com/office/drawing/2014/main" id="{634DE22D-81C4-BA03-744D-31E73E58046D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33%</a:t>
                </a:r>
              </a:p>
            </p:txBody>
          </p:sp>
        </p:grpSp>
        <p:grpSp>
          <p:nvGrpSpPr>
            <p:cNvPr id="359" name="Group 358">
              <a:extLst>
                <a:ext uri="{FF2B5EF4-FFF2-40B4-BE49-F238E27FC236}">
                  <a16:creationId xmlns:a16="http://schemas.microsoft.com/office/drawing/2014/main" id="{59F2407E-F501-DBCB-9F1E-434F7BB01F0D}"/>
                </a:ext>
              </a:extLst>
            </p:cNvPr>
            <p:cNvGrpSpPr/>
            <p:nvPr/>
          </p:nvGrpSpPr>
          <p:grpSpPr>
            <a:xfrm>
              <a:off x="9810472" y="5596304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60" name="Oval 58">
                <a:extLst>
                  <a:ext uri="{FF2B5EF4-FFF2-40B4-BE49-F238E27FC236}">
                    <a16:creationId xmlns:a16="http://schemas.microsoft.com/office/drawing/2014/main" id="{70F55FE1-532D-8DA4-0914-AD05CB904FB1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0000">
                    <a:schemeClr val="accent2">
                      <a:lumMod val="100000"/>
                    </a:schemeClr>
                  </a:gs>
                  <a:gs pos="50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Ældreområdet</a:t>
                </a:r>
                <a:endParaRPr lang="en-US" sz="900"/>
              </a:p>
            </p:txBody>
          </p:sp>
          <p:sp>
            <p:nvSpPr>
              <p:cNvPr id="361" name="TextBox 360">
                <a:extLst>
                  <a:ext uri="{FF2B5EF4-FFF2-40B4-BE49-F238E27FC236}">
                    <a16:creationId xmlns:a16="http://schemas.microsoft.com/office/drawing/2014/main" id="{BF75D97B-8170-059C-B676-73D8D2B39ECA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692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50%</a:t>
                </a:r>
              </a:p>
            </p:txBody>
          </p:sp>
        </p:grpSp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A80D7775-D996-371B-A55F-5A421D771820}"/>
                </a:ext>
              </a:extLst>
            </p:cNvPr>
            <p:cNvGrpSpPr/>
            <p:nvPr/>
          </p:nvGrpSpPr>
          <p:grpSpPr>
            <a:xfrm>
              <a:off x="8294682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63" name="Oval 58">
                <a:extLst>
                  <a:ext uri="{FF2B5EF4-FFF2-40B4-BE49-F238E27FC236}">
                    <a16:creationId xmlns:a16="http://schemas.microsoft.com/office/drawing/2014/main" id="{6B34AC62-165C-749A-DEBD-7364291EC8B9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8000">
                    <a:schemeClr val="accent2">
                      <a:lumMod val="100000"/>
                    </a:schemeClr>
                  </a:gs>
                  <a:gs pos="3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Ydelsesberegner</a:t>
                </a:r>
                <a:endParaRPr lang="da-DK" sz="900"/>
              </a:p>
            </p:txBody>
          </p:sp>
          <p:sp>
            <p:nvSpPr>
              <p:cNvPr id="364" name="TextBox 363">
                <a:extLst>
                  <a:ext uri="{FF2B5EF4-FFF2-40B4-BE49-F238E27FC236}">
                    <a16:creationId xmlns:a16="http://schemas.microsoft.com/office/drawing/2014/main" id="{F525C575-9DAA-B573-ADDE-1F92CFCDF96E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38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368" name="Group 367">
              <a:extLst>
                <a:ext uri="{FF2B5EF4-FFF2-40B4-BE49-F238E27FC236}">
                  <a16:creationId xmlns:a16="http://schemas.microsoft.com/office/drawing/2014/main" id="{1F8A8C7D-5992-C96D-E1A0-EB187BDBF1E4}"/>
                </a:ext>
              </a:extLst>
            </p:cNvPr>
            <p:cNvGrpSpPr/>
            <p:nvPr/>
          </p:nvGrpSpPr>
          <p:grpSpPr>
            <a:xfrm>
              <a:off x="6778890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69" name="Oval 58">
                <a:extLst>
                  <a:ext uri="{FF2B5EF4-FFF2-40B4-BE49-F238E27FC236}">
                    <a16:creationId xmlns:a16="http://schemas.microsoft.com/office/drawing/2014/main" id="{D622816A-D9DB-121D-351C-9DBE1DC99767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38000">
                    <a:schemeClr val="accent2">
                      <a:lumMod val="100000"/>
                    </a:schemeClr>
                  </a:gs>
                  <a:gs pos="38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Vielse</a:t>
                </a:r>
                <a:endParaRPr lang="da-DK" sz="900"/>
              </a:p>
            </p:txBody>
          </p:sp>
          <p:sp>
            <p:nvSpPr>
              <p:cNvPr id="370" name="TextBox 369">
                <a:extLst>
                  <a:ext uri="{FF2B5EF4-FFF2-40B4-BE49-F238E27FC236}">
                    <a16:creationId xmlns:a16="http://schemas.microsoft.com/office/drawing/2014/main" id="{750BB345-477C-CB91-8103-2FAD78875591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38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CE7A96EC-AC66-E58F-B3D1-580ACC5F7B77}"/>
                </a:ext>
              </a:extLst>
            </p:cNvPr>
            <p:cNvGrpSpPr/>
            <p:nvPr/>
          </p:nvGrpSpPr>
          <p:grpSpPr>
            <a:xfrm>
              <a:off x="5263098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72" name="Oval 58">
                <a:extLst>
                  <a:ext uri="{FF2B5EF4-FFF2-40B4-BE49-F238E27FC236}">
                    <a16:creationId xmlns:a16="http://schemas.microsoft.com/office/drawing/2014/main" id="{6B1A9185-C54D-5346-6008-705247AFDBB4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92000">
                    <a:schemeClr val="accent2">
                      <a:lumMod val="100000"/>
                    </a:schemeClr>
                  </a:gs>
                  <a:gs pos="92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Valg (aktiveres ved valg)</a:t>
                </a:r>
                <a:endParaRPr lang="en-US" sz="900"/>
              </a:p>
            </p:txBody>
          </p:sp>
          <p:sp>
            <p:nvSpPr>
              <p:cNvPr id="373" name="TextBox 372">
                <a:extLst>
                  <a:ext uri="{FF2B5EF4-FFF2-40B4-BE49-F238E27FC236}">
                    <a16:creationId xmlns:a16="http://schemas.microsoft.com/office/drawing/2014/main" id="{FD14563A-B2DA-84E7-4274-B98C6947D2C5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92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1CC3D787-E1A8-ADE2-F97F-B3D22762BF21}"/>
                </a:ext>
              </a:extLst>
            </p:cNvPr>
            <p:cNvGrpSpPr/>
            <p:nvPr/>
          </p:nvGrpSpPr>
          <p:grpSpPr>
            <a:xfrm>
              <a:off x="3747306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26" name="Oval 58">
                <a:extLst>
                  <a:ext uri="{FF2B5EF4-FFF2-40B4-BE49-F238E27FC236}">
                    <a16:creationId xmlns:a16="http://schemas.microsoft.com/office/drawing/2014/main" id="{D7264A13-ACE6-D903-C9AB-747140AEFBBF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lumMod val="100000"/>
                    </a:schemeClr>
                  </a:gs>
                  <a:gs pos="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ea typeface="+mn-lt"/>
                    <a:cs typeface="+mn-lt"/>
                  </a:rPr>
                  <a:t>Sygesikringsgruppe skift</a:t>
                </a:r>
                <a:endParaRPr lang="en-US" sz="900"/>
              </a:p>
            </p:txBody>
          </p:sp>
          <p:sp>
            <p:nvSpPr>
              <p:cNvPr id="527" name="TextBox 526">
                <a:extLst>
                  <a:ext uri="{FF2B5EF4-FFF2-40B4-BE49-F238E27FC236}">
                    <a16:creationId xmlns:a16="http://schemas.microsoft.com/office/drawing/2014/main" id="{AC5F6669-3DBB-63BB-E433-ADFB6A91D2E2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0%</a:t>
                </a: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11245C45-A07E-BDD1-6B25-09C377F34259}"/>
                </a:ext>
              </a:extLst>
            </p:cNvPr>
            <p:cNvGrpSpPr/>
            <p:nvPr/>
          </p:nvGrpSpPr>
          <p:grpSpPr>
            <a:xfrm>
              <a:off x="2231514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32" name="Oval 58">
                <a:extLst>
                  <a:ext uri="{FF2B5EF4-FFF2-40B4-BE49-F238E27FC236}">
                    <a16:creationId xmlns:a16="http://schemas.microsoft.com/office/drawing/2014/main" id="{3047A7EC-83E7-2253-EDF8-D5D2E395C895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5000">
                    <a:schemeClr val="accent2">
                      <a:lumMod val="100000"/>
                    </a:schemeClr>
                  </a:gs>
                  <a:gs pos="5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/>
                  <a:t>Sygedagpenge (Ledige, lønmodtagere og selvstændige)</a:t>
                </a:r>
                <a:endParaRPr lang="en-US" sz="900"/>
              </a:p>
            </p:txBody>
          </p:sp>
          <p:sp>
            <p:nvSpPr>
              <p:cNvPr id="533" name="TextBox 532">
                <a:extLst>
                  <a:ext uri="{FF2B5EF4-FFF2-40B4-BE49-F238E27FC236}">
                    <a16:creationId xmlns:a16="http://schemas.microsoft.com/office/drawing/2014/main" id="{EE0ABD37-B4C5-508D-7F02-ADA416405CBB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5%</a:t>
                </a:r>
              </a:p>
            </p:txBody>
          </p:sp>
        </p:grpSp>
        <p:grpSp>
          <p:nvGrpSpPr>
            <p:cNvPr id="534" name="Group 533">
              <a:extLst>
                <a:ext uri="{FF2B5EF4-FFF2-40B4-BE49-F238E27FC236}">
                  <a16:creationId xmlns:a16="http://schemas.microsoft.com/office/drawing/2014/main" id="{8F979E10-21A8-8B48-0C0F-DB69BD46A01A}"/>
                </a:ext>
              </a:extLst>
            </p:cNvPr>
            <p:cNvGrpSpPr/>
            <p:nvPr/>
          </p:nvGrpSpPr>
          <p:grpSpPr>
            <a:xfrm>
              <a:off x="715722" y="5590725"/>
              <a:ext cx="1425757" cy="733202"/>
              <a:chOff x="739417" y="689851"/>
              <a:chExt cx="1425757" cy="733202"/>
            </a:xfrm>
            <a:gradFill>
              <a:gsLst>
                <a:gs pos="22000">
                  <a:schemeClr val="accent2">
                    <a:lumMod val="100000"/>
                  </a:schemeClr>
                </a:gs>
                <a:gs pos="2200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35" name="Oval 58">
                <a:extLst>
                  <a:ext uri="{FF2B5EF4-FFF2-40B4-BE49-F238E27FC236}">
                    <a16:creationId xmlns:a16="http://schemas.microsoft.com/office/drawing/2014/main" id="{D5C34062-A7CB-728A-8F6C-5549FCD3422A}"/>
                  </a:ext>
                </a:extLst>
              </p:cNvPr>
              <p:cNvSpPr/>
              <p:nvPr/>
            </p:nvSpPr>
            <p:spPr bwMode="gray">
              <a:xfrm>
                <a:off x="739417" y="689851"/>
                <a:ext cx="1425757" cy="733202"/>
              </a:xfrm>
              <a:prstGeom prst="rect">
                <a:avLst/>
              </a:prstGeom>
              <a:gradFill>
                <a:gsLst>
                  <a:gs pos="26000">
                    <a:schemeClr val="accent2">
                      <a:lumMod val="100000"/>
                    </a:schemeClr>
                  </a:gs>
                  <a:gs pos="26000">
                    <a:schemeClr val="accent3">
                      <a:lumMod val="20000"/>
                      <a:lumOff val="80000"/>
                    </a:schemeClr>
                  </a:gs>
                </a:gsLst>
                <a:lin ang="0" scaled="0"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t"/>
              <a:lstStyle/>
              <a:p>
                <a:pPr algn="ctr">
                  <a:defRPr/>
                </a:pPr>
                <a:r>
                  <a:rPr lang="da-DK" sz="900">
                    <a:solidFill>
                      <a:srgbClr val="000000"/>
                    </a:solidFill>
                    <a:ea typeface="+mn-lt"/>
                    <a:cs typeface="+mn-lt"/>
                  </a:rPr>
                  <a:t>Sundhedskort (særligt, gult og blåt)</a:t>
                </a:r>
                <a:endParaRPr lang="da-DK" sz="900"/>
              </a:p>
            </p:txBody>
          </p:sp>
          <p:sp>
            <p:nvSpPr>
              <p:cNvPr id="536" name="TextBox 535">
                <a:extLst>
                  <a:ext uri="{FF2B5EF4-FFF2-40B4-BE49-F238E27FC236}">
                    <a16:creationId xmlns:a16="http://schemas.microsoft.com/office/drawing/2014/main" id="{1F839E4F-B3F1-1F1D-AA77-4F3A439E125A}"/>
                  </a:ext>
                </a:extLst>
              </p:cNvPr>
              <p:cNvSpPr txBox="1"/>
              <p:nvPr/>
            </p:nvSpPr>
            <p:spPr>
              <a:xfrm>
                <a:off x="820276" y="1190319"/>
                <a:ext cx="557674" cy="1711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da-DK" sz="1100" b="1">
                    <a:solidFill>
                      <a:srgbClr val="000000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26</a:t>
                </a:r>
                <a:r>
                  <a:rPr kumimoji="0" lang="da-DK" sz="110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Open Sans"/>
                    <a:ea typeface="Open Sans"/>
                    <a:cs typeface="Open Sans"/>
                    <a:sym typeface="Open Sans"/>
                  </a:rPr>
                  <a:t>%</a:t>
                </a:r>
              </a:p>
            </p:txBody>
          </p:sp>
        </p:grpSp>
      </p:grpSp>
      <p:sp>
        <p:nvSpPr>
          <p:cNvPr id="538" name="Text Placeholder 2">
            <a:extLst>
              <a:ext uri="{FF2B5EF4-FFF2-40B4-BE49-F238E27FC236}">
                <a16:creationId xmlns:a16="http://schemas.microsoft.com/office/drawing/2014/main" id="{4C2A07EE-F7C7-C462-CA1C-92F56E69E9DA}"/>
              </a:ext>
            </a:extLst>
          </p:cNvPr>
          <p:cNvSpPr txBox="1">
            <a:spLocks/>
          </p:cNvSpPr>
          <p:nvPr/>
        </p:nvSpPr>
        <p:spPr>
          <a:xfrm>
            <a:off x="363661" y="103783"/>
            <a:ext cx="10443628" cy="9794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/>
          <a:lstStyle>
            <a:lvl1pPr marL="0" marR="0" indent="0" algn="l" defTabSz="914400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chemeClr val="bg1"/>
                </a:solidFill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Open Sans"/>
              </a:defRPr>
            </a:lvl1pPr>
            <a:lvl2pPr marL="0" marR="0" indent="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176400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356399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532799" marR="0" indent="-176399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r>
              <a:rPr lang="da-DK" kern="0">
                <a:latin typeface="Open Sans Light"/>
                <a:ea typeface="Open Sans Light"/>
                <a:cs typeface="Open Sans Light"/>
              </a:rPr>
              <a:t>Indhold på Muni</a:t>
            </a:r>
            <a:endParaRPr lang="da-DK" sz="3600" kern="0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A54B0CAD-AD1C-6C1B-1E25-35B39865E3BF}"/>
              </a:ext>
            </a:extLst>
          </p:cNvPr>
          <p:cNvSpPr txBox="1"/>
          <p:nvPr/>
        </p:nvSpPr>
        <p:spPr>
          <a:xfrm>
            <a:off x="361266" y="468478"/>
            <a:ext cx="8759336" cy="36933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b="1" i="1" kern="0">
                <a:solidFill>
                  <a:srgbClr val="E3E48D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Procentandel </a:t>
            </a:r>
            <a:r>
              <a:rPr lang="da-DK" sz="1800" b="1" i="1" kern="0">
                <a:solidFill>
                  <a:srgbClr val="E3E48D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af emneområdet, som dækkes af boost</a:t>
            </a:r>
            <a:endParaRPr lang="da-DK" sz="1800"/>
          </a:p>
        </p:txBody>
      </p:sp>
      <p:sp>
        <p:nvSpPr>
          <p:cNvPr id="545" name="Oval 544">
            <a:extLst>
              <a:ext uri="{FF2B5EF4-FFF2-40B4-BE49-F238E27FC236}">
                <a16:creationId xmlns:a16="http://schemas.microsoft.com/office/drawing/2014/main" id="{E5D11F01-DFFF-AAD5-7DEC-C05E8657152F}"/>
              </a:ext>
            </a:extLst>
          </p:cNvPr>
          <p:cNvSpPr/>
          <p:nvPr/>
        </p:nvSpPr>
        <p:spPr bwMode="gray">
          <a:xfrm>
            <a:off x="278338" y="920373"/>
            <a:ext cx="98427" cy="98427"/>
          </a:xfrm>
          <a:prstGeom prst="ellipse">
            <a:avLst/>
          </a:prstGeom>
          <a:solidFill>
            <a:srgbClr val="80A8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a-DK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46" name="Oval 545">
            <a:extLst>
              <a:ext uri="{FF2B5EF4-FFF2-40B4-BE49-F238E27FC236}">
                <a16:creationId xmlns:a16="http://schemas.microsoft.com/office/drawing/2014/main" id="{0F566C61-35CE-174E-C2D5-B09EABDA02B6}"/>
              </a:ext>
            </a:extLst>
          </p:cNvPr>
          <p:cNvSpPr/>
          <p:nvPr/>
        </p:nvSpPr>
        <p:spPr bwMode="gray">
          <a:xfrm>
            <a:off x="270484" y="6503897"/>
            <a:ext cx="98427" cy="98427"/>
          </a:xfrm>
          <a:prstGeom prst="ellipse">
            <a:avLst/>
          </a:prstGeom>
          <a:solidFill>
            <a:srgbClr val="80A8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a-DK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30485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-33403" y="40052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97897" y="907606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Lokale variabler i chatbot dialoger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553877"/>
              </p:ext>
            </p:extLst>
          </p:nvPr>
        </p:nvGraphicFramePr>
        <p:xfrm>
          <a:off x="716538" y="2559883"/>
          <a:ext cx="10922697" cy="347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Lokale variabler hentes fra selvbetjening.nu platformen eller indskrives manuelt i eksisterende chatbot platform 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/>
                        <a:t>Lokale variabler hentes fra </a:t>
                      </a:r>
                      <a:r>
                        <a:rPr lang="da-DK" err="1"/>
                        <a:t>ProKom</a:t>
                      </a:r>
                      <a:r>
                        <a:rPr lang="da-DK"/>
                        <a:t> platformen, som er blevet præudfyldt af DDH chatbot teamet før go-live.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/>
                        <a:t>Variablerne skal kvalitetssikres lokalt i kommunen.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/>
                        <a:t>Lokale variabler hentes fra </a:t>
                      </a:r>
                      <a:r>
                        <a:rPr lang="da-DK" err="1"/>
                        <a:t>ProKom</a:t>
                      </a:r>
                      <a:r>
                        <a:rPr lang="da-DK"/>
                        <a:t> platformen.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/>
                        <a:t>Selvbetjening.nu bliver brugt som en vidensdatabase, som en AI crawl kigger ned i og genererer svar på baggrund af. Svarene verificeres efterfølgende af DDH chatbot team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EF373FF5-2577-550B-4584-43C650D74C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8419" y="-156000"/>
            <a:ext cx="2951367" cy="295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74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Muni AI Crawl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1211527"/>
              </p:ext>
            </p:extLst>
          </p:nvPr>
        </p:nvGraphicFramePr>
        <p:xfrm>
          <a:off x="634649" y="2720342"/>
          <a:ext cx="10922697" cy="3205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Muni anvender en AI crawl via IBMs løsning, Watson Discovery, der anvendes som en fallback, når chatbotten ikke har et indbygget svar. 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WD er </a:t>
                      </a:r>
                      <a:r>
                        <a:rPr lang="da-DK" u="sng"/>
                        <a:t>ikke</a:t>
                      </a:r>
                      <a:r>
                        <a:rPr lang="da-DK"/>
                        <a:t> baseret på en LL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Boost.ai's AI crawl tages i brug som en fallback løsning, når chatbotten ikke har et indbygget svar. 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Denne AI crawl anvendes sammen med en LLM. LLMen forbedrer søgningen og genererer en indholdsvisning til borgerne baseret på kommunens hjemmesi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Der kobles flere vidensdatabaser på AI </a:t>
                      </a:r>
                      <a:r>
                        <a:rPr lang="da-DK" err="1"/>
                        <a:t>crawlen</a:t>
                      </a:r>
                      <a:r>
                        <a:rPr lang="da-DK"/>
                        <a:t>, så chatbottens svar kan hente viden for flere, kvalificerede datakilder. 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Fx Borger.dk, skat.dk osv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D6161155-4E23-2C2E-CDCA-9586F3549C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9171" y="-275723"/>
            <a:ext cx="3273836" cy="327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5658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Muni Voice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638655"/>
              </p:ext>
            </p:extLst>
          </p:nvPr>
        </p:nvGraphicFramePr>
        <p:xfrm>
          <a:off x="601249" y="2872413"/>
          <a:ext cx="10922697" cy="2931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Muni anvender ikke voice på nuværende tidspunkt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Voice lanceres i DDH kontaktcenter til straksafklaring, herunder både FAQ og tidsbestilling via Frontdesk. 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Derudover tilbydes 2 kommuner at lancere voice til straksafklaring i deres lokale telefonsystem. 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Voice omstilling udvikles til DDH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Voice straksafklaring/FAQ og voice omstilling tilbydes til alle kommuner til lokal brug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67F20CD0-9E87-DF99-6917-B1D1A46105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9171" y="-275723"/>
            <a:ext cx="3273836" cy="327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9429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Muni integrationer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252455"/>
              </p:ext>
            </p:extLst>
          </p:nvPr>
        </p:nvGraphicFramePr>
        <p:xfrm>
          <a:off x="581341" y="2585631"/>
          <a:ext cx="10922697" cy="3896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84859"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511173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da-DK"/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da-DK"/>
                        <a:t>Eksisterende integrationer dækker: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a-DK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Find mit valgs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Puzz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Selvbetjening.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Frontdesk tidsbestill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MitID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Alle eksisterende integrationer følger med over i den nye løsning til go-live ifm. driftsprøven. </a:t>
                      </a:r>
                    </a:p>
                    <a:p>
                      <a:pPr algn="ctr"/>
                      <a:endParaRPr lang="da-DK"/>
                    </a:p>
                    <a:p>
                      <a:pPr algn="l"/>
                      <a:r>
                        <a:rPr lang="da-DK"/>
                        <a:t>Nye integrationer inkluderer:</a:t>
                      </a:r>
                    </a:p>
                    <a:p>
                      <a:pPr algn="ctr"/>
                      <a:endParaRPr lang="da-DK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ProKom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Kultunaut</a:t>
                      </a:r>
                    </a:p>
                    <a:p>
                      <a:pPr algn="ctr"/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/>
                    </a:p>
                    <a:p>
                      <a:pPr algn="ctr"/>
                      <a:r>
                        <a:rPr lang="da-DK"/>
                        <a:t>Udvidelse af integrationer til relevante fagsystemer på tværs af kommunerne.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Herunder eksempler på fagsystemer, der kunne være relevant: </a:t>
                      </a:r>
                      <a:r>
                        <a:rPr lang="da-DK" err="1"/>
                        <a:t>RenoWeb</a:t>
                      </a:r>
                      <a:r>
                        <a:rPr lang="da-DK"/>
                        <a:t>, </a:t>
                      </a:r>
                      <a:r>
                        <a:rPr lang="da-DK" err="1"/>
                        <a:t>Sweco</a:t>
                      </a:r>
                      <a:r>
                        <a:rPr lang="da-DK"/>
                        <a:t>, Kube</a:t>
                      </a:r>
                    </a:p>
                    <a:p>
                      <a:pPr algn="ctr"/>
                      <a:endParaRPr lang="da-DK"/>
                    </a:p>
                    <a:p>
                      <a:pPr algn="ctr"/>
                      <a:r>
                        <a:rPr lang="da-DK"/>
                        <a:t>Udvidet Puzzle integration, der inkluderer Live Chat viderestill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8254AFCF-0281-FF2B-8F3B-26DA9BB0B5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86226" y="-340017"/>
            <a:ext cx="3273836" cy="327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693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1268858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3" name="Freeform 3"/>
          <p:cNvSpPr/>
          <p:nvPr/>
        </p:nvSpPr>
        <p:spPr>
          <a:xfrm rot="-5400000">
            <a:off x="1519039" y="3173822"/>
            <a:ext cx="3237801" cy="2057053"/>
          </a:xfrm>
          <a:custGeom>
            <a:avLst/>
            <a:gdLst/>
            <a:ahLst/>
            <a:cxnLst/>
            <a:rect l="l" t="t" r="r" b="b"/>
            <a:pathLst>
              <a:path w="4856701" h="3085579">
                <a:moveTo>
                  <a:pt x="0" y="0"/>
                </a:moveTo>
                <a:lnTo>
                  <a:pt x="4856702" y="0"/>
                </a:lnTo>
                <a:lnTo>
                  <a:pt x="4856702" y="3085578"/>
                </a:lnTo>
                <a:lnTo>
                  <a:pt x="0" y="3085578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5" name="Freeform 5"/>
          <p:cNvSpPr/>
          <p:nvPr/>
        </p:nvSpPr>
        <p:spPr>
          <a:xfrm rot="-5400000">
            <a:off x="4547348" y="3181672"/>
            <a:ext cx="3237801" cy="2057053"/>
          </a:xfrm>
          <a:custGeom>
            <a:avLst/>
            <a:gdLst/>
            <a:ahLst/>
            <a:cxnLst/>
            <a:rect l="l" t="t" r="r" b="b"/>
            <a:pathLst>
              <a:path w="4856701" h="3085579">
                <a:moveTo>
                  <a:pt x="0" y="0"/>
                </a:moveTo>
                <a:lnTo>
                  <a:pt x="4856701" y="0"/>
                </a:lnTo>
                <a:lnTo>
                  <a:pt x="4856701" y="3085578"/>
                </a:lnTo>
                <a:lnTo>
                  <a:pt x="0" y="3085578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2365865" y="3144403"/>
            <a:ext cx="1534731" cy="457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Projektleder på DDH kontaktcenter &amp; chatbot</a:t>
            </a: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2" name="Freeform 22"/>
          <p:cNvSpPr/>
          <p:nvPr/>
        </p:nvSpPr>
        <p:spPr>
          <a:xfrm rot="-5400000">
            <a:off x="7661779" y="3181672"/>
            <a:ext cx="3237801" cy="2057053"/>
          </a:xfrm>
          <a:custGeom>
            <a:avLst/>
            <a:gdLst/>
            <a:ahLst/>
            <a:cxnLst/>
            <a:rect l="l" t="t" r="r" b="b"/>
            <a:pathLst>
              <a:path w="4856701" h="3085579">
                <a:moveTo>
                  <a:pt x="0" y="0"/>
                </a:moveTo>
                <a:lnTo>
                  <a:pt x="4856702" y="0"/>
                </a:lnTo>
                <a:lnTo>
                  <a:pt x="4856702" y="3085578"/>
                </a:lnTo>
                <a:lnTo>
                  <a:pt x="0" y="3085578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3" name="TextBox 23"/>
          <p:cNvSpPr txBox="1"/>
          <p:nvPr/>
        </p:nvSpPr>
        <p:spPr>
          <a:xfrm>
            <a:off x="8366553" y="2882806"/>
            <a:ext cx="1867407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Jon Løbner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7" name="AutoShape 27"/>
          <p:cNvSpPr/>
          <p:nvPr/>
        </p:nvSpPr>
        <p:spPr>
          <a:xfrm flipV="1">
            <a:off x="4639747" y="3884782"/>
            <a:ext cx="2555028" cy="593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8" name="AutoShape 28"/>
          <p:cNvSpPr/>
          <p:nvPr/>
        </p:nvSpPr>
        <p:spPr>
          <a:xfrm flipV="1">
            <a:off x="8252153" y="3900572"/>
            <a:ext cx="2057053" cy="0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30" name="TextBox 30"/>
          <p:cNvSpPr txBox="1"/>
          <p:nvPr/>
        </p:nvSpPr>
        <p:spPr>
          <a:xfrm>
            <a:off x="5404422" y="4210198"/>
            <a:ext cx="1534731" cy="769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ikation</a:t>
            </a: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alt</a:t>
            </a:r>
            <a:r>
              <a:rPr lang="en-US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 netværk &amp; </a:t>
            </a:r>
            <a:r>
              <a:rPr lang="en-US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samarbejde</a:t>
            </a: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endParaRPr lang="en-US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</p:txBody>
      </p:sp>
      <p:sp>
        <p:nvSpPr>
          <p:cNvPr id="32" name="TextBox 32"/>
          <p:cNvSpPr txBox="1"/>
          <p:nvPr/>
        </p:nvSpPr>
        <p:spPr>
          <a:xfrm>
            <a:off x="8582353" y="4210198"/>
            <a:ext cx="1534731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Databehandler aftalen</a:t>
            </a: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A7370FA-419D-13DC-22E3-557D8F383E33}"/>
              </a:ext>
            </a:extLst>
          </p:cNvPr>
          <p:cNvSpPr txBox="1"/>
          <p:nvPr/>
        </p:nvSpPr>
        <p:spPr>
          <a:xfrm>
            <a:off x="926170" y="980479"/>
            <a:ext cx="5230400" cy="5071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3908"/>
              </a:lnSpc>
              <a:spcBef>
                <a:spcPct val="0"/>
              </a:spcBef>
            </a:pP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Hvem</a:t>
            </a:r>
            <a:r>
              <a:rPr lang="en-US" sz="3948" spc="138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 er her i </a:t>
            </a: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dag</a:t>
            </a:r>
            <a:r>
              <a:rPr lang="en-US" sz="3948" spc="138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101191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Muni LLM &amp; Generativ AI 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965625"/>
              </p:ext>
            </p:extLst>
          </p:nvPr>
        </p:nvGraphicFramePr>
        <p:xfrm>
          <a:off x="559304" y="2656587"/>
          <a:ext cx="10922697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Muni anvender ikke LLM og generativ AI i dag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LLM forventes at blive brugt i udvalgte use cases til go-live af driftsprøven.</a:t>
                      </a:r>
                    </a:p>
                    <a:p>
                      <a:endParaRPr lang="da-DK"/>
                    </a:p>
                    <a:p>
                      <a:r>
                        <a:rPr lang="da-DK"/>
                        <a:t>Udvalgte use cases dækker: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Brug af LLM i AI craw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a-DK"/>
                        <a:t>Brug af LLM til optimering af produktion af svar til den regelbaserede chatbot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a-DK"/>
                    </a:p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Anvende en LLM til at producere borgervendte svar på andre sprog end dansk</a:t>
                      </a:r>
                    </a:p>
                    <a:p>
                      <a:endParaRPr lang="da-DK"/>
                    </a:p>
                    <a:p>
                      <a:r>
                        <a:rPr lang="da-DK"/>
                        <a:t>Mulighed for at udrulle flows med brug af LLM, fx i tidsbestilling</a:t>
                      </a:r>
                    </a:p>
                    <a:p>
                      <a:endParaRPr lang="da-DK"/>
                    </a:p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A0773E85-52A4-9C97-554F-627E6A008B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86226" y="-275723"/>
            <a:ext cx="3273836" cy="327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6916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F251FA-1844-A8C5-F468-236DFE333E84}"/>
              </a:ext>
            </a:extLst>
          </p:cNvPr>
          <p:cNvSpPr txBox="1">
            <a:spLocks/>
          </p:cNvSpPr>
          <p:nvPr/>
        </p:nvSpPr>
        <p:spPr>
          <a:xfrm>
            <a:off x="1355911" y="9987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err="1">
                <a:solidFill>
                  <a:schemeClr val="bg1"/>
                </a:solidFill>
              </a:rPr>
              <a:t>Muni</a:t>
            </a:r>
            <a:r>
              <a:rPr lang="da-DK">
                <a:solidFill>
                  <a:schemeClr val="bg1"/>
                </a:solidFill>
              </a:rPr>
              <a:t> Kommunespecifik instans</a:t>
            </a: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292774B-8A82-1B6C-18D0-462C2BBEB0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405317"/>
              </p:ext>
            </p:extLst>
          </p:nvPr>
        </p:nvGraphicFramePr>
        <p:xfrm>
          <a:off x="601249" y="2872413"/>
          <a:ext cx="10922697" cy="238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99">
                  <a:extLst>
                    <a:ext uri="{9D8B030D-6E8A-4147-A177-3AD203B41FA5}">
                      <a16:colId xmlns:a16="http://schemas.microsoft.com/office/drawing/2014/main" val="4294678378"/>
                    </a:ext>
                  </a:extLst>
                </a:gridCol>
                <a:gridCol w="3862192">
                  <a:extLst>
                    <a:ext uri="{9D8B030D-6E8A-4147-A177-3AD203B41FA5}">
                      <a16:colId xmlns:a16="http://schemas.microsoft.com/office/drawing/2014/main" val="1164493001"/>
                    </a:ext>
                  </a:extLst>
                </a:gridCol>
                <a:gridCol w="3419606">
                  <a:extLst>
                    <a:ext uri="{9D8B030D-6E8A-4147-A177-3AD203B41FA5}">
                      <a16:colId xmlns:a16="http://schemas.microsoft.com/office/drawing/2014/main" val="2444396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/>
                        <a:t>Muni 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Muni 20. 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Muni i fremti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646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Kommuner har mulighed for at være udvidet kommune, hvilket betyder, at de kan bestille udelukkende lokalt indhold, der skal bygges af DDH chatbot team. </a:t>
                      </a:r>
                    </a:p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Kommuner har mulighed for at være udvidet kommune, hvilket betyder, at de kan bestille udelukkende lokalt indhold, der skal bygges af DDH chatbot team. </a:t>
                      </a:r>
                    </a:p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/>
                    </a:p>
                    <a:p>
                      <a:r>
                        <a:rPr lang="da-DK"/>
                        <a:t>Kommuner får mulighed for at få adgang til boost.ai platformen efter undervisning, hvilket gør dem i stand til selv at udbygge lokalt indhold til chat og voi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91274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93530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Hvad gør DDH</a:t>
            </a:r>
          </a:p>
        </p:txBody>
      </p:sp>
      <p:sp>
        <p:nvSpPr>
          <p:cNvPr id="2" name="Rektangel: afrundede hjørner 1">
            <a:extLst>
              <a:ext uri="{FF2B5EF4-FFF2-40B4-BE49-F238E27FC236}">
                <a16:creationId xmlns:a16="http://schemas.microsoft.com/office/drawing/2014/main" id="{BEC91713-A377-2E71-FE3C-B395B5157C52}"/>
              </a:ext>
            </a:extLst>
          </p:cNvPr>
          <p:cNvSpPr/>
          <p:nvPr/>
        </p:nvSpPr>
        <p:spPr>
          <a:xfrm>
            <a:off x="7970657" y="3737295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Risikoanalyse og konsekvensanalyse til inspiration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33D86C8E-0447-A0E8-AE51-2300189F4978}"/>
              </a:ext>
            </a:extLst>
          </p:cNvPr>
          <p:cNvSpPr/>
          <p:nvPr/>
        </p:nvSpPr>
        <p:spPr>
          <a:xfrm>
            <a:off x="1467405" y="5061283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Etablere </a:t>
            </a:r>
            <a:r>
              <a:rPr lang="da-DK" b="1" err="1"/>
              <a:t>dashboard</a:t>
            </a:r>
            <a:r>
              <a:rPr lang="da-DK" b="1"/>
              <a:t> til statistik samt forbrug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B815A539-D26F-9142-CA1F-8D4C7190E887}"/>
              </a:ext>
            </a:extLst>
          </p:cNvPr>
          <p:cNvSpPr/>
          <p:nvPr/>
        </p:nvSpPr>
        <p:spPr>
          <a:xfrm>
            <a:off x="4763972" y="2313893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Etablering af nye integrationer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74EA0329-A8BE-B89D-3E41-37387230F784}"/>
              </a:ext>
            </a:extLst>
          </p:cNvPr>
          <p:cNvSpPr/>
          <p:nvPr/>
        </p:nvSpPr>
        <p:spPr>
          <a:xfrm>
            <a:off x="4719031" y="5044234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Migrering af eksisterende indhold</a:t>
            </a:r>
          </a:p>
        </p:txBody>
      </p:sp>
      <p:sp>
        <p:nvSpPr>
          <p:cNvPr id="19" name="Rektangel: afrundede hjørner 18">
            <a:extLst>
              <a:ext uri="{FF2B5EF4-FFF2-40B4-BE49-F238E27FC236}">
                <a16:creationId xmlns:a16="http://schemas.microsoft.com/office/drawing/2014/main" id="{0C186FF6-493E-09E7-F6BE-72A7F7D0F499}"/>
              </a:ext>
            </a:extLst>
          </p:cNvPr>
          <p:cNvSpPr/>
          <p:nvPr/>
        </p:nvSpPr>
        <p:spPr>
          <a:xfrm>
            <a:off x="1467405" y="3737295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err="1"/>
              <a:t>Hypercare</a:t>
            </a:r>
            <a:r>
              <a:rPr lang="da-DK" b="1"/>
              <a:t> i driftsprøve og løbende </a:t>
            </a:r>
          </a:p>
        </p:txBody>
      </p:sp>
      <p:sp>
        <p:nvSpPr>
          <p:cNvPr id="20" name="Rektangel: afrundede hjørner 19">
            <a:extLst>
              <a:ext uri="{FF2B5EF4-FFF2-40B4-BE49-F238E27FC236}">
                <a16:creationId xmlns:a16="http://schemas.microsoft.com/office/drawing/2014/main" id="{AC289A7B-FACF-63B6-B814-271FBF883434}"/>
              </a:ext>
            </a:extLst>
          </p:cNvPr>
          <p:cNvSpPr/>
          <p:nvPr/>
        </p:nvSpPr>
        <p:spPr>
          <a:xfrm>
            <a:off x="1467405" y="2335717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Udbygning af nye områder</a:t>
            </a:r>
          </a:p>
        </p:txBody>
      </p:sp>
      <p:sp>
        <p:nvSpPr>
          <p:cNvPr id="3" name="Rektangel: afrundede hjørner 2">
            <a:extLst>
              <a:ext uri="{FF2B5EF4-FFF2-40B4-BE49-F238E27FC236}">
                <a16:creationId xmlns:a16="http://schemas.microsoft.com/office/drawing/2014/main" id="{DEA6AC64-AE84-5B59-F5A2-E6FBE7D0E691}"/>
              </a:ext>
            </a:extLst>
          </p:cNvPr>
          <p:cNvSpPr/>
          <p:nvPr/>
        </p:nvSpPr>
        <p:spPr>
          <a:xfrm>
            <a:off x="4719031" y="3737295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Første udkast af lokale variabler i </a:t>
            </a:r>
            <a:r>
              <a:rPr lang="da-DK" b="1" err="1"/>
              <a:t>Prokom</a:t>
            </a:r>
            <a:endParaRPr lang="da-DK" b="1"/>
          </a:p>
        </p:txBody>
      </p:sp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D38129E3-70B3-2838-1BD0-5DFF9ABB95D1}"/>
              </a:ext>
            </a:extLst>
          </p:cNvPr>
          <p:cNvSpPr/>
          <p:nvPr/>
        </p:nvSpPr>
        <p:spPr>
          <a:xfrm>
            <a:off x="7970658" y="5044234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Migrering af eksisterende integrationer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4A50D7CB-BC67-EBA0-A5DB-F2B74F4B0269}"/>
              </a:ext>
            </a:extLst>
          </p:cNvPr>
          <p:cNvSpPr/>
          <p:nvPr/>
        </p:nvSpPr>
        <p:spPr>
          <a:xfrm>
            <a:off x="8060538" y="2335717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Træning og monitorering</a:t>
            </a:r>
          </a:p>
        </p:txBody>
      </p:sp>
    </p:spTree>
    <p:extLst>
      <p:ext uri="{BB962C8B-B14F-4D97-AF65-F5344CB8AC3E}">
        <p14:creationId xmlns:p14="http://schemas.microsoft.com/office/powerpoint/2010/main" val="32438428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Hvad kræver det i hver kommune?</a:t>
            </a:r>
          </a:p>
        </p:txBody>
      </p:sp>
      <p:sp>
        <p:nvSpPr>
          <p:cNvPr id="2" name="Rektangel: afrundede hjørner 1">
            <a:extLst>
              <a:ext uri="{FF2B5EF4-FFF2-40B4-BE49-F238E27FC236}">
                <a16:creationId xmlns:a16="http://schemas.microsoft.com/office/drawing/2014/main" id="{BEC91713-A377-2E71-FE3C-B395B5157C52}"/>
              </a:ext>
            </a:extLst>
          </p:cNvPr>
          <p:cNvSpPr/>
          <p:nvPr/>
        </p:nvSpPr>
        <p:spPr>
          <a:xfrm>
            <a:off x="4730149" y="2460082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Lokal Organisering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33D86C8E-0447-A0E8-AE51-2300189F4978}"/>
              </a:ext>
            </a:extLst>
          </p:cNvPr>
          <p:cNvSpPr/>
          <p:nvPr/>
        </p:nvSpPr>
        <p:spPr>
          <a:xfrm>
            <a:off x="4730148" y="5054285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ProKom Kvalitetssikring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B815A539-D26F-9142-CA1F-8D4C7190E887}"/>
              </a:ext>
            </a:extLst>
          </p:cNvPr>
          <p:cNvSpPr/>
          <p:nvPr/>
        </p:nvSpPr>
        <p:spPr>
          <a:xfrm>
            <a:off x="8160381" y="4146046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Installation af script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74EA0329-A8BE-B89D-3E41-37387230F784}"/>
              </a:ext>
            </a:extLst>
          </p:cNvPr>
          <p:cNvSpPr/>
          <p:nvPr/>
        </p:nvSpPr>
        <p:spPr>
          <a:xfrm>
            <a:off x="1379697" y="2460082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Underskrive</a:t>
            </a:r>
          </a:p>
          <a:p>
            <a:pPr algn="ctr"/>
            <a:r>
              <a:rPr lang="da-DK" b="1"/>
              <a:t>Samarbejdsaftale</a:t>
            </a:r>
          </a:p>
        </p:txBody>
      </p:sp>
      <p:sp>
        <p:nvSpPr>
          <p:cNvPr id="19" name="Rektangel: afrundede hjørner 18">
            <a:extLst>
              <a:ext uri="{FF2B5EF4-FFF2-40B4-BE49-F238E27FC236}">
                <a16:creationId xmlns:a16="http://schemas.microsoft.com/office/drawing/2014/main" id="{0C186FF6-493E-09E7-F6BE-72A7F7D0F499}"/>
              </a:ext>
            </a:extLst>
          </p:cNvPr>
          <p:cNvSpPr/>
          <p:nvPr/>
        </p:nvSpPr>
        <p:spPr>
          <a:xfrm>
            <a:off x="4745773" y="3769022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ProKom Uddannelse</a:t>
            </a:r>
          </a:p>
        </p:txBody>
      </p:sp>
      <p:sp>
        <p:nvSpPr>
          <p:cNvPr id="20" name="Rektangel: afrundede hjørner 19">
            <a:extLst>
              <a:ext uri="{FF2B5EF4-FFF2-40B4-BE49-F238E27FC236}">
                <a16:creationId xmlns:a16="http://schemas.microsoft.com/office/drawing/2014/main" id="{AC289A7B-FACF-63B6-B814-271FBF883434}"/>
              </a:ext>
            </a:extLst>
          </p:cNvPr>
          <p:cNvSpPr/>
          <p:nvPr/>
        </p:nvSpPr>
        <p:spPr>
          <a:xfrm>
            <a:off x="8160381" y="2889000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Valg af layout på Avatar</a:t>
            </a:r>
          </a:p>
        </p:txBody>
      </p:sp>
      <p:sp>
        <p:nvSpPr>
          <p:cNvPr id="3" name="Rektangel: afrundede hjørner 2">
            <a:extLst>
              <a:ext uri="{FF2B5EF4-FFF2-40B4-BE49-F238E27FC236}">
                <a16:creationId xmlns:a16="http://schemas.microsoft.com/office/drawing/2014/main" id="{DEA6AC64-AE84-5B59-F5A2-E6FBE7D0E691}"/>
              </a:ext>
            </a:extLst>
          </p:cNvPr>
          <p:cNvSpPr/>
          <p:nvPr/>
        </p:nvSpPr>
        <p:spPr>
          <a:xfrm>
            <a:off x="1367570" y="5054285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Lokal risikoanalyse og konsekvensanalyse samt procedure</a:t>
            </a:r>
          </a:p>
        </p:txBody>
      </p:sp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D38129E3-70B3-2838-1BD0-5DFF9ABB95D1}"/>
              </a:ext>
            </a:extLst>
          </p:cNvPr>
          <p:cNvSpPr/>
          <p:nvPr/>
        </p:nvSpPr>
        <p:spPr>
          <a:xfrm>
            <a:off x="1362516" y="3769022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/>
              <a:t>Underskrive databehandleraftale</a:t>
            </a:r>
          </a:p>
        </p:txBody>
      </p:sp>
    </p:spTree>
    <p:extLst>
      <p:ext uri="{BB962C8B-B14F-4D97-AF65-F5344CB8AC3E}">
        <p14:creationId xmlns:p14="http://schemas.microsoft.com/office/powerpoint/2010/main" val="36677317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Lokal Organisering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5C14266B-6614-C6C0-7221-91D42977C749}"/>
              </a:ext>
            </a:extLst>
          </p:cNvPr>
          <p:cNvSpPr txBox="1"/>
          <p:nvPr/>
        </p:nvSpPr>
        <p:spPr>
          <a:xfrm>
            <a:off x="4275235" y="3260664"/>
            <a:ext cx="350889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Ansvarlig for installationen af scripts samt tilføjelse af kategorier til scriptsene. </a:t>
            </a:r>
          </a:p>
          <a:p>
            <a:endParaRPr lang="da-DK">
              <a:solidFill>
                <a:srgbClr val="333333"/>
              </a:solidFill>
              <a:latin typeface="Arial" panose="020B0604020202020204" pitchFamily="34" charset="0"/>
            </a:endParaRPr>
          </a:p>
          <a:p>
            <a:endParaRPr lang="da-DK">
              <a:solidFill>
                <a:srgbClr val="333333"/>
              </a:solidFill>
              <a:latin typeface="Arial" panose="020B0604020202020204" pitchFamily="34" charset="0"/>
            </a:endParaRPr>
          </a:p>
          <a:p>
            <a:endParaRPr lang="da-DK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>
                <a:solidFill>
                  <a:srgbClr val="333333"/>
                </a:solidFill>
                <a:latin typeface="Arial" panose="020B0604020202020204" pitchFamily="34" charset="0"/>
              </a:rPr>
              <a:t>Det er vigtigt at denne rolle har afsat tid til at installere scripts op til påbegyndelse af driftsprøven den 20. februar 2025</a:t>
            </a:r>
            <a:endParaRPr lang="da-DK"/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D788330-405D-760B-17B5-0F09E5010F77}"/>
              </a:ext>
            </a:extLst>
          </p:cNvPr>
          <p:cNvSpPr txBox="1"/>
          <p:nvPr/>
        </p:nvSpPr>
        <p:spPr>
          <a:xfrm>
            <a:off x="4379624" y="2200028"/>
            <a:ext cx="20816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latin typeface="Arial" panose="020B0604020202020204" pitchFamily="34" charset="0"/>
                <a:cs typeface="Arial" panose="020B0604020202020204" pitchFamily="34" charset="0"/>
              </a:rPr>
              <a:t>Installations-ansvarlig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E9806424-BC09-3129-4E1D-484DBAD87F79}"/>
              </a:ext>
            </a:extLst>
          </p:cNvPr>
          <p:cNvSpPr txBox="1"/>
          <p:nvPr/>
        </p:nvSpPr>
        <p:spPr>
          <a:xfrm>
            <a:off x="8337107" y="3260663"/>
            <a:ext cx="367012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Ansvarlig for at udfylde og vedligeholde lokale variable i ProKom.</a:t>
            </a:r>
          </a:p>
          <a:p>
            <a:r>
              <a:rPr lang="da-DK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endParaRPr lang="da-DK" b="0" i="0"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  <a:p>
            <a:endParaRPr lang="da-DK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>
                <a:solidFill>
                  <a:srgbClr val="333333"/>
                </a:solidFill>
                <a:latin typeface="Arial" panose="020B0604020202020204" pitchFamily="34" charset="0"/>
              </a:rPr>
              <a:t>Det er vigtigt at denne rolle har afsat tid til undervisning i ProKom samt udfylde og kvalitetssikre indhold i ProKom op til påbegyndelsen af driftsprøven den 20. februar 2025</a:t>
            </a:r>
            <a:endParaRPr lang="da-DK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8D262F18-1677-1143-A1D9-614EC1DFAD96}"/>
              </a:ext>
            </a:extLst>
          </p:cNvPr>
          <p:cNvSpPr txBox="1"/>
          <p:nvPr/>
        </p:nvSpPr>
        <p:spPr>
          <a:xfrm>
            <a:off x="8446656" y="2171954"/>
            <a:ext cx="35088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latin typeface="Arial" panose="020B0604020202020204" pitchFamily="34" charset="0"/>
                <a:cs typeface="Arial" panose="020B0604020202020204" pitchFamily="34" charset="0"/>
              </a:rPr>
              <a:t>ProKom </a:t>
            </a:r>
          </a:p>
          <a:p>
            <a:r>
              <a:rPr lang="da-DK" sz="2400" b="1">
                <a:latin typeface="Arial" panose="020B0604020202020204" pitchFamily="34" charset="0"/>
                <a:cs typeface="Arial" panose="020B0604020202020204" pitchFamily="34" charset="0"/>
              </a:rPr>
              <a:t>Redaktør</a:t>
            </a: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CE4A372C-A30C-5D2D-4D59-9D3934E26FE9}"/>
              </a:ext>
            </a:extLst>
          </p:cNvPr>
          <p:cNvSpPr txBox="1"/>
          <p:nvPr/>
        </p:nvSpPr>
        <p:spPr>
          <a:xfrm>
            <a:off x="342793" y="3322577"/>
            <a:ext cx="3357821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Den primære kontakt til DDH Chatbot teamet ift. koordineringen lokalt i kommunen på tværs af afdelinger.</a:t>
            </a:r>
          </a:p>
          <a:p>
            <a:endParaRPr lang="da-DK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 b="0" i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Information omkring nye funktioner, nyt udviklingspotentiale, kvalitetskontrol osv. bliver delt med ambassadøren. </a:t>
            </a:r>
            <a:endParaRPr lang="da-DK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B0190B75-7CEB-7D4F-351E-D5615DB8CC9D}"/>
              </a:ext>
            </a:extLst>
          </p:cNvPr>
          <p:cNvSpPr txBox="1"/>
          <p:nvPr/>
        </p:nvSpPr>
        <p:spPr>
          <a:xfrm>
            <a:off x="460752" y="2217072"/>
            <a:ext cx="35014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latin typeface="Arial" panose="020B0604020202020204" pitchFamily="34" charset="0"/>
                <a:cs typeface="Arial" panose="020B0604020202020204" pitchFamily="34" charset="0"/>
              </a:rPr>
              <a:t>Chat/</a:t>
            </a:r>
            <a:r>
              <a:rPr lang="da-DK" sz="2400" b="1" err="1">
                <a:latin typeface="Arial" panose="020B0604020202020204" pitchFamily="34" charset="0"/>
                <a:cs typeface="Arial" panose="020B0604020202020204" pitchFamily="34" charset="0"/>
              </a:rPr>
              <a:t>voicebot</a:t>
            </a:r>
            <a:r>
              <a:rPr lang="da-DK" sz="2400" b="1">
                <a:latin typeface="Arial" panose="020B0604020202020204" pitchFamily="34" charset="0"/>
                <a:cs typeface="Arial" panose="020B0604020202020204" pitchFamily="34" charset="0"/>
              </a:rPr>
              <a:t> Ambassadør</a:t>
            </a:r>
          </a:p>
        </p:txBody>
      </p: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D694AC6F-56CC-9E16-4F1A-893646008BB4}"/>
              </a:ext>
            </a:extLst>
          </p:cNvPr>
          <p:cNvCxnSpPr>
            <a:cxnSpLocks/>
          </p:cNvCxnSpPr>
          <p:nvPr/>
        </p:nvCxnSpPr>
        <p:spPr>
          <a:xfrm>
            <a:off x="3981834" y="2865909"/>
            <a:ext cx="0" cy="3651831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AE3B5557-0C36-2723-52AA-60A8385AAC13}"/>
              </a:ext>
            </a:extLst>
          </p:cNvPr>
          <p:cNvCxnSpPr>
            <a:cxnSpLocks/>
          </p:cNvCxnSpPr>
          <p:nvPr/>
        </p:nvCxnSpPr>
        <p:spPr>
          <a:xfrm>
            <a:off x="8071443" y="2903791"/>
            <a:ext cx="37749" cy="3558107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7687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Ressource estima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D788330-405D-760B-17B5-0F09E5010F77}"/>
              </a:ext>
            </a:extLst>
          </p:cNvPr>
          <p:cNvSpPr txBox="1"/>
          <p:nvPr/>
        </p:nvSpPr>
        <p:spPr>
          <a:xfrm>
            <a:off x="5829496" y="2466864"/>
            <a:ext cx="20816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ations-ansvarlig</a:t>
            </a: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8D262F18-1677-1143-A1D9-614EC1DFAD96}"/>
              </a:ext>
            </a:extLst>
          </p:cNvPr>
          <p:cNvSpPr txBox="1"/>
          <p:nvPr/>
        </p:nvSpPr>
        <p:spPr>
          <a:xfrm>
            <a:off x="8210213" y="2493019"/>
            <a:ext cx="35088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Kom </a:t>
            </a:r>
          </a:p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aktør</a:t>
            </a: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CE4A372C-A30C-5D2D-4D59-9D3934E26FE9}"/>
              </a:ext>
            </a:extLst>
          </p:cNvPr>
          <p:cNvSpPr txBox="1"/>
          <p:nvPr/>
        </p:nvSpPr>
        <p:spPr>
          <a:xfrm>
            <a:off x="10471129" y="2493019"/>
            <a:ext cx="90403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</a:rPr>
              <a:t>DPO</a:t>
            </a:r>
            <a:endParaRPr lang="da-DK" sz="2400" b="1">
              <a:solidFill>
                <a:srgbClr val="1C6434"/>
              </a:solidFill>
            </a:endParaRP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B0190B75-7CEB-7D4F-351E-D5615DB8CC9D}"/>
              </a:ext>
            </a:extLst>
          </p:cNvPr>
          <p:cNvSpPr txBox="1"/>
          <p:nvPr/>
        </p:nvSpPr>
        <p:spPr>
          <a:xfrm>
            <a:off x="3105506" y="2466864"/>
            <a:ext cx="35014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t/</a:t>
            </a:r>
            <a:r>
              <a:rPr lang="da-DK" sz="2400" b="1" err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icebot</a:t>
            </a:r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bassadør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28EAB537-5545-21F2-9B46-2014E9F97BD5}"/>
              </a:ext>
            </a:extLst>
          </p:cNvPr>
          <p:cNvSpPr txBox="1"/>
          <p:nvPr/>
        </p:nvSpPr>
        <p:spPr>
          <a:xfrm>
            <a:off x="472889" y="3919045"/>
            <a:ext cx="17921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blering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476FCC55-6AA1-CD03-0C29-CD77C16C6046}"/>
              </a:ext>
            </a:extLst>
          </p:cNvPr>
          <p:cNvSpPr txBox="1"/>
          <p:nvPr/>
        </p:nvSpPr>
        <p:spPr>
          <a:xfrm>
            <a:off x="472889" y="5780776"/>
            <a:ext cx="9951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>
                <a:solidFill>
                  <a:srgbClr val="1C64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ft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B32C0E6D-F0CF-2342-131A-1EDDADC7BA51}"/>
              </a:ext>
            </a:extLst>
          </p:cNvPr>
          <p:cNvSpPr txBox="1"/>
          <p:nvPr/>
        </p:nvSpPr>
        <p:spPr>
          <a:xfrm>
            <a:off x="8081098" y="3778409"/>
            <a:ext cx="160618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1 dag </a:t>
            </a:r>
          </a:p>
          <a:p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til kvalitetssikring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A3325BFE-C5E4-8846-6EF4-FE6C8EEC5160}"/>
              </a:ext>
            </a:extLst>
          </p:cNvPr>
          <p:cNvSpPr txBox="1"/>
          <p:nvPr/>
        </p:nvSpPr>
        <p:spPr>
          <a:xfrm>
            <a:off x="8081098" y="5584267"/>
            <a:ext cx="16061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2 timer månedligt 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215421A6-ABFB-41D0-73F0-656D6CFC1E79}"/>
              </a:ext>
            </a:extLst>
          </p:cNvPr>
          <p:cNvSpPr txBox="1"/>
          <p:nvPr/>
        </p:nvSpPr>
        <p:spPr>
          <a:xfrm>
            <a:off x="5803891" y="3811323"/>
            <a:ext cx="160618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1-2 dage </a:t>
            </a:r>
          </a:p>
          <a:p>
            <a:pPr algn="ctr"/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til installation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9FD06B8-3E8B-2760-E8A5-F7795DD96DC2}"/>
              </a:ext>
            </a:extLst>
          </p:cNvPr>
          <p:cNvSpPr txBox="1"/>
          <p:nvPr/>
        </p:nvSpPr>
        <p:spPr>
          <a:xfrm>
            <a:off x="5649432" y="5596109"/>
            <a:ext cx="19151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2 timer hvert kvartal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3109FC2E-A39E-5E7F-7854-5E5E9D4BFFC8}"/>
              </a:ext>
            </a:extLst>
          </p:cNvPr>
          <p:cNvSpPr txBox="1"/>
          <p:nvPr/>
        </p:nvSpPr>
        <p:spPr>
          <a:xfrm>
            <a:off x="2907118" y="3693877"/>
            <a:ext cx="233594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2-3 dage </a:t>
            </a:r>
          </a:p>
          <a:p>
            <a:pPr algn="ctr"/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Kommunikation DDH</a:t>
            </a:r>
          </a:p>
          <a:p>
            <a:pPr algn="ctr"/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Kommunikation lokalt</a:t>
            </a:r>
          </a:p>
          <a:p>
            <a:pPr algn="ctr"/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Support til DPO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DEDC2BED-EBA8-0800-50C6-8A2E4ADD211D}"/>
              </a:ext>
            </a:extLst>
          </p:cNvPr>
          <p:cNvSpPr txBox="1"/>
          <p:nvPr/>
        </p:nvSpPr>
        <p:spPr>
          <a:xfrm>
            <a:off x="3146731" y="5591153"/>
            <a:ext cx="16061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2400">
                <a:latin typeface="Arial" panose="020B0604020202020204" pitchFamily="34" charset="0"/>
                <a:cs typeface="Arial" panose="020B0604020202020204" pitchFamily="34" charset="0"/>
              </a:rPr>
              <a:t>2 timer månedligt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767F4DE4-602B-5FD9-9F85-795B631B91A5}"/>
              </a:ext>
            </a:extLst>
          </p:cNvPr>
          <p:cNvSpPr txBox="1"/>
          <p:nvPr/>
        </p:nvSpPr>
        <p:spPr>
          <a:xfrm>
            <a:off x="10155713" y="3792421"/>
            <a:ext cx="18198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Review af DBA</a:t>
            </a:r>
          </a:p>
          <a:p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Lokal risiko- og konsekvensanalyse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574C170B-4357-D6B4-0ED0-8A940A3B6DC2}"/>
              </a:ext>
            </a:extLst>
          </p:cNvPr>
          <p:cNvSpPr txBox="1"/>
          <p:nvPr/>
        </p:nvSpPr>
        <p:spPr>
          <a:xfrm>
            <a:off x="9964662" y="5719221"/>
            <a:ext cx="20109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400">
                <a:latin typeface="Arial" panose="020B0604020202020204" pitchFamily="34" charset="0"/>
                <a:cs typeface="Arial" panose="020B0604020202020204" pitchFamily="34" charset="0"/>
              </a:rPr>
              <a:t>Vedligehold af risiko- og konsekvensanalyse</a:t>
            </a:r>
          </a:p>
        </p:txBody>
      </p:sp>
    </p:spTree>
    <p:extLst>
      <p:ext uri="{BB962C8B-B14F-4D97-AF65-F5344CB8AC3E}">
        <p14:creationId xmlns:p14="http://schemas.microsoft.com/office/powerpoint/2010/main" val="33490837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0BA756F-7C79-EB61-D4B4-469AC2DCF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470" y="2485522"/>
            <a:ext cx="10515600" cy="4351338"/>
          </a:xfrm>
        </p:spPr>
        <p:txBody>
          <a:bodyPr/>
          <a:lstStyle/>
          <a:p>
            <a:r>
              <a:rPr lang="da-DK"/>
              <a:t>Underskriv Samarbejdsaftale inklusiv DBA: </a:t>
            </a:r>
            <a:r>
              <a:rPr lang="da-DK" b="1"/>
              <a:t>1. februar</a:t>
            </a:r>
          </a:p>
          <a:p>
            <a:r>
              <a:rPr lang="da-DK"/>
              <a:t>Del farve, font, CMS, telefonsystem med DDH: </a:t>
            </a:r>
            <a:r>
              <a:rPr lang="da-DK" b="1"/>
              <a:t>1. december </a:t>
            </a:r>
            <a:r>
              <a:rPr lang="da-DK"/>
              <a:t>via spørgeskema</a:t>
            </a:r>
          </a:p>
          <a:p>
            <a:r>
              <a:rPr lang="da-DK"/>
              <a:t>Del lokal organisering og kontaktoplysninger: </a:t>
            </a:r>
            <a:r>
              <a:rPr lang="da-DK" b="1"/>
              <a:t>1. december </a:t>
            </a:r>
            <a:r>
              <a:rPr lang="da-DK"/>
              <a:t>via spørgeskema</a:t>
            </a:r>
          </a:p>
          <a:p>
            <a:r>
              <a:rPr lang="da-DK"/>
              <a:t>Uddannelse i ProKom: </a:t>
            </a:r>
            <a:r>
              <a:rPr lang="da-DK" b="1"/>
              <a:t>Uge 5, 2025</a:t>
            </a:r>
          </a:p>
          <a:p>
            <a:r>
              <a:rPr lang="da-DK"/>
              <a:t>Kvalitetssikring af indhold i ProKom: </a:t>
            </a:r>
            <a:r>
              <a:rPr lang="da-DK" b="1"/>
              <a:t>Uge 5-8, 2025</a:t>
            </a:r>
          </a:p>
          <a:p>
            <a:r>
              <a:rPr lang="da-DK"/>
              <a:t>Installation af script: Forventeligt </a:t>
            </a:r>
            <a:r>
              <a:rPr lang="da-DK" b="1"/>
              <a:t>uge 6-8, 2025</a:t>
            </a:r>
          </a:p>
          <a:p>
            <a:endParaRPr lang="da-DK"/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DE4E2F3-1263-FACD-FD39-AA41C0299BD9}"/>
              </a:ext>
            </a:extLst>
          </p:cNvPr>
          <p:cNvGrpSpPr/>
          <p:nvPr/>
        </p:nvGrpSpPr>
        <p:grpSpPr>
          <a:xfrm>
            <a:off x="0" y="21140"/>
            <a:ext cx="12192000" cy="2057400"/>
            <a:chOff x="0" y="0"/>
            <a:chExt cx="4816593" cy="81280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6C9B20E-2442-83AF-7C2F-882D2B25D436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8" name="TextBox 9">
              <a:extLst>
                <a:ext uri="{FF2B5EF4-FFF2-40B4-BE49-F238E27FC236}">
                  <a16:creationId xmlns:a16="http://schemas.microsoft.com/office/drawing/2014/main" id="{E81E6B40-A2DC-55B5-0284-5567245EE642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9" name="Freeform 16">
            <a:extLst>
              <a:ext uri="{FF2B5EF4-FFF2-40B4-BE49-F238E27FC236}">
                <a16:creationId xmlns:a16="http://schemas.microsoft.com/office/drawing/2014/main" id="{E301F4AC-DA9C-52A8-7B64-17D1DC922306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EB31A2E-CF6F-ADEA-7D85-C84BD90FFE7D}"/>
              </a:ext>
            </a:extLst>
          </p:cNvPr>
          <p:cNvSpPr txBox="1">
            <a:spLocks/>
          </p:cNvSpPr>
          <p:nvPr/>
        </p:nvSpPr>
        <p:spPr>
          <a:xfrm>
            <a:off x="1366888" y="73837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>
                <a:solidFill>
                  <a:schemeClr val="bg1"/>
                </a:solidFill>
              </a:rPr>
              <a:t>Centrale Milepæle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7D8F4469-2B30-4026-C2E2-ECD7E2A493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</p:spTree>
    <p:extLst>
      <p:ext uri="{BB962C8B-B14F-4D97-AF65-F5344CB8AC3E}">
        <p14:creationId xmlns:p14="http://schemas.microsoft.com/office/powerpoint/2010/main" val="14120084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1DE4E2F3-1263-FACD-FD39-AA41C0299BD9}"/>
              </a:ext>
            </a:extLst>
          </p:cNvPr>
          <p:cNvGrpSpPr/>
          <p:nvPr/>
        </p:nvGrpSpPr>
        <p:grpSpPr>
          <a:xfrm>
            <a:off x="0" y="21140"/>
            <a:ext cx="12192000" cy="7001960"/>
            <a:chOff x="0" y="0"/>
            <a:chExt cx="4816593" cy="81280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6C9B20E-2442-83AF-7C2F-882D2B25D436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8" name="TextBox 9">
              <a:extLst>
                <a:ext uri="{FF2B5EF4-FFF2-40B4-BE49-F238E27FC236}">
                  <a16:creationId xmlns:a16="http://schemas.microsoft.com/office/drawing/2014/main" id="{E81E6B40-A2DC-55B5-0284-5567245EE642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9" name="Freeform 16">
            <a:extLst>
              <a:ext uri="{FF2B5EF4-FFF2-40B4-BE49-F238E27FC236}">
                <a16:creationId xmlns:a16="http://schemas.microsoft.com/office/drawing/2014/main" id="{E301F4AC-DA9C-52A8-7B64-17D1DC922306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EB31A2E-CF6F-ADEA-7D85-C84BD90FFE7D}"/>
              </a:ext>
            </a:extLst>
          </p:cNvPr>
          <p:cNvSpPr txBox="1">
            <a:spLocks/>
          </p:cNvSpPr>
          <p:nvPr/>
        </p:nvSpPr>
        <p:spPr>
          <a:xfrm>
            <a:off x="3452042" y="2859338"/>
            <a:ext cx="5287912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8800">
                <a:solidFill>
                  <a:schemeClr val="bg1"/>
                </a:solidFill>
              </a:rPr>
              <a:t>Spørgsmål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7D8F4469-2B30-4026-C2E2-ECD7E2A493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</p:spTree>
    <p:extLst>
      <p:ext uri="{BB962C8B-B14F-4D97-AF65-F5344CB8AC3E}">
        <p14:creationId xmlns:p14="http://schemas.microsoft.com/office/powerpoint/2010/main" val="28261471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B537CB-6CA1-4DAF-8D8D-7C44288FE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A75D8CDA-7214-4AE1-B1AC-74C041783C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4280411" cy="3533673"/>
          </a:xfr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26B345E7-3691-4CD6-8D86-B864983F0B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0411" y="159063"/>
            <a:ext cx="3904837" cy="3027836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FFAEFE1D-ADF7-4994-A7D6-7D5F90A96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33672"/>
            <a:ext cx="4385877" cy="3324327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F47F776-DE48-4B86-912A-80B9AD28DF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5877" y="3533671"/>
            <a:ext cx="4085461" cy="3339120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4267A55-3FB8-4520-AF5B-638AB57369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5248" y="159062"/>
            <a:ext cx="3939479" cy="3186900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DE92AC75-1280-428F-BA48-C64A643240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09773" y="3686432"/>
            <a:ext cx="3682227" cy="285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4595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1AF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663177" y="195864"/>
            <a:ext cx="687673" cy="719050"/>
          </a:xfrm>
          <a:custGeom>
            <a:avLst/>
            <a:gdLst/>
            <a:ahLst/>
            <a:cxnLst/>
            <a:rect l="l" t="t" r="r" b="b"/>
            <a:pathLst>
              <a:path w="1031510" h="1078575">
                <a:moveTo>
                  <a:pt x="0" y="0"/>
                </a:moveTo>
                <a:lnTo>
                  <a:pt x="1031510" y="0"/>
                </a:lnTo>
                <a:lnTo>
                  <a:pt x="1031510" y="1078575"/>
                </a:lnTo>
                <a:lnTo>
                  <a:pt x="0" y="107857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3" name="TextBox 3"/>
          <p:cNvSpPr txBox="1"/>
          <p:nvPr/>
        </p:nvSpPr>
        <p:spPr>
          <a:xfrm>
            <a:off x="1140254" y="363206"/>
            <a:ext cx="3406129" cy="6474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4857"/>
              </a:lnSpc>
              <a:spcBef>
                <a:spcPct val="0"/>
              </a:spcBef>
            </a:pPr>
            <a:r>
              <a:rPr lang="en-US" sz="4906" spc="171">
                <a:solidFill>
                  <a:srgbClr val="FFFFFF"/>
                </a:solidFill>
                <a:latin typeface="Poppins"/>
                <a:ea typeface="Poppins"/>
                <a:cs typeface="Poppins"/>
                <a:sym typeface="Poppins"/>
              </a:rPr>
              <a:t>Data 2023</a:t>
            </a:r>
          </a:p>
        </p:txBody>
      </p:sp>
      <p:sp>
        <p:nvSpPr>
          <p:cNvPr id="4" name="Freeform 4"/>
          <p:cNvSpPr/>
          <p:nvPr/>
        </p:nvSpPr>
        <p:spPr>
          <a:xfrm>
            <a:off x="10681887" y="192792"/>
            <a:ext cx="690611" cy="722122"/>
          </a:xfrm>
          <a:custGeom>
            <a:avLst/>
            <a:gdLst/>
            <a:ahLst/>
            <a:cxnLst/>
            <a:rect l="l" t="t" r="r" b="b"/>
            <a:pathLst>
              <a:path w="1035917" h="1083183">
                <a:moveTo>
                  <a:pt x="0" y="0"/>
                </a:moveTo>
                <a:lnTo>
                  <a:pt x="1035917" y="0"/>
                </a:lnTo>
                <a:lnTo>
                  <a:pt x="1035917" y="1083183"/>
                </a:lnTo>
                <a:lnTo>
                  <a:pt x="0" y="108318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5" name="Freeform 5"/>
          <p:cNvSpPr/>
          <p:nvPr/>
        </p:nvSpPr>
        <p:spPr>
          <a:xfrm>
            <a:off x="1184159" y="1321426"/>
            <a:ext cx="1469026" cy="1469026"/>
          </a:xfrm>
          <a:custGeom>
            <a:avLst/>
            <a:gdLst/>
            <a:ahLst/>
            <a:cxnLst/>
            <a:rect l="l" t="t" r="r" b="b"/>
            <a:pathLst>
              <a:path w="2203539" h="2203539">
                <a:moveTo>
                  <a:pt x="0" y="0"/>
                </a:moveTo>
                <a:lnTo>
                  <a:pt x="2203539" y="0"/>
                </a:lnTo>
                <a:lnTo>
                  <a:pt x="2203539" y="2203538"/>
                </a:lnTo>
                <a:lnTo>
                  <a:pt x="0" y="220353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6" name="Freeform 6"/>
          <p:cNvSpPr/>
          <p:nvPr/>
        </p:nvSpPr>
        <p:spPr>
          <a:xfrm>
            <a:off x="3811870" y="1274738"/>
            <a:ext cx="1469026" cy="1469026"/>
          </a:xfrm>
          <a:custGeom>
            <a:avLst/>
            <a:gdLst/>
            <a:ahLst/>
            <a:cxnLst/>
            <a:rect l="l" t="t" r="r" b="b"/>
            <a:pathLst>
              <a:path w="2203539" h="2203539">
                <a:moveTo>
                  <a:pt x="0" y="0"/>
                </a:moveTo>
                <a:lnTo>
                  <a:pt x="2203538" y="0"/>
                </a:lnTo>
                <a:lnTo>
                  <a:pt x="2203538" y="2203538"/>
                </a:lnTo>
                <a:lnTo>
                  <a:pt x="0" y="220353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7" name="AutoShape 7"/>
          <p:cNvSpPr/>
          <p:nvPr/>
        </p:nvSpPr>
        <p:spPr>
          <a:xfrm flipV="1">
            <a:off x="2628227" y="2105597"/>
            <a:ext cx="1183643" cy="0"/>
          </a:xfrm>
          <a:prstGeom prst="line">
            <a:avLst/>
          </a:prstGeom>
          <a:ln w="47625" cap="rnd">
            <a:solidFill>
              <a:srgbClr val="1C6434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extBox 8"/>
          <p:cNvSpPr txBox="1"/>
          <p:nvPr/>
        </p:nvSpPr>
        <p:spPr>
          <a:xfrm>
            <a:off x="1512368" y="1831070"/>
            <a:ext cx="907718" cy="6656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48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1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4093511" y="1762666"/>
            <a:ext cx="907718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48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2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3461464" y="2998602"/>
            <a:ext cx="2169837" cy="8677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10"/>
              </a:lnSpc>
            </a:pPr>
            <a:r>
              <a:rPr lang="en-US" sz="1426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4162 ratings med en gennemsnitsrating på 2.25 ud af 3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834773" y="2998602"/>
            <a:ext cx="2169837" cy="8677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10"/>
              </a:lnSpc>
            </a:pPr>
            <a:r>
              <a:rPr lang="en-US" sz="1426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80.000 samtaler, hvor størstedelen sker mellem kl. 07-13</a:t>
            </a:r>
          </a:p>
        </p:txBody>
      </p:sp>
      <p:sp>
        <p:nvSpPr>
          <p:cNvPr id="12" name="Freeform 12"/>
          <p:cNvSpPr/>
          <p:nvPr/>
        </p:nvSpPr>
        <p:spPr>
          <a:xfrm>
            <a:off x="1185179" y="4373903"/>
            <a:ext cx="1469026" cy="1469026"/>
          </a:xfrm>
          <a:custGeom>
            <a:avLst/>
            <a:gdLst/>
            <a:ahLst/>
            <a:cxnLst/>
            <a:rect l="l" t="t" r="r" b="b"/>
            <a:pathLst>
              <a:path w="2203539" h="2203539">
                <a:moveTo>
                  <a:pt x="0" y="0"/>
                </a:moveTo>
                <a:lnTo>
                  <a:pt x="2203538" y="0"/>
                </a:lnTo>
                <a:lnTo>
                  <a:pt x="2203538" y="2203539"/>
                </a:lnTo>
                <a:lnTo>
                  <a:pt x="0" y="220353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3" name="Freeform 13"/>
          <p:cNvSpPr/>
          <p:nvPr/>
        </p:nvSpPr>
        <p:spPr>
          <a:xfrm>
            <a:off x="3821211" y="4373903"/>
            <a:ext cx="1469026" cy="1469026"/>
          </a:xfrm>
          <a:custGeom>
            <a:avLst/>
            <a:gdLst/>
            <a:ahLst/>
            <a:cxnLst/>
            <a:rect l="l" t="t" r="r" b="b"/>
            <a:pathLst>
              <a:path w="2203539" h="2203539">
                <a:moveTo>
                  <a:pt x="0" y="0"/>
                </a:moveTo>
                <a:lnTo>
                  <a:pt x="2203539" y="0"/>
                </a:lnTo>
                <a:lnTo>
                  <a:pt x="2203539" y="2203539"/>
                </a:lnTo>
                <a:lnTo>
                  <a:pt x="0" y="220353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4" name="AutoShape 14"/>
          <p:cNvSpPr/>
          <p:nvPr/>
        </p:nvSpPr>
        <p:spPr>
          <a:xfrm>
            <a:off x="2654205" y="5158073"/>
            <a:ext cx="1183643" cy="0"/>
          </a:xfrm>
          <a:prstGeom prst="line">
            <a:avLst/>
          </a:prstGeom>
          <a:ln w="47625" cap="rnd">
            <a:solidFill>
              <a:srgbClr val="1C6434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TextBox 15"/>
          <p:cNvSpPr txBox="1"/>
          <p:nvPr/>
        </p:nvSpPr>
        <p:spPr>
          <a:xfrm>
            <a:off x="1516232" y="4916652"/>
            <a:ext cx="907718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48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3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4099296" y="4861832"/>
            <a:ext cx="907718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48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4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3461772" y="5901895"/>
            <a:ext cx="2169837" cy="5764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10"/>
              </a:lnSpc>
            </a:pPr>
            <a:r>
              <a:rPr lang="en-US" sz="1426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61.1 % tilgår chatbotten fra mobiltelefon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834773" y="5901895"/>
            <a:ext cx="2169837" cy="5764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10"/>
              </a:lnSpc>
            </a:pPr>
            <a:r>
              <a:rPr lang="en-US" sz="1426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Tidsbestilling fylder 38 % af alle samtaler</a:t>
            </a:r>
          </a:p>
        </p:txBody>
      </p:sp>
      <p:sp>
        <p:nvSpPr>
          <p:cNvPr id="19" name="Freeform 19"/>
          <p:cNvSpPr/>
          <p:nvPr/>
        </p:nvSpPr>
        <p:spPr>
          <a:xfrm>
            <a:off x="7259105" y="1320585"/>
            <a:ext cx="1442561" cy="1442561"/>
          </a:xfrm>
          <a:custGeom>
            <a:avLst/>
            <a:gdLst/>
            <a:ahLst/>
            <a:cxnLst/>
            <a:rect l="l" t="t" r="r" b="b"/>
            <a:pathLst>
              <a:path w="2163841" h="2163841">
                <a:moveTo>
                  <a:pt x="0" y="0"/>
                </a:moveTo>
                <a:lnTo>
                  <a:pt x="2163841" y="0"/>
                </a:lnTo>
                <a:lnTo>
                  <a:pt x="2163841" y="2163841"/>
                </a:lnTo>
                <a:lnTo>
                  <a:pt x="0" y="216384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0" name="Freeform 20"/>
          <p:cNvSpPr/>
          <p:nvPr/>
        </p:nvSpPr>
        <p:spPr>
          <a:xfrm>
            <a:off x="9839476" y="1274738"/>
            <a:ext cx="1442561" cy="1442561"/>
          </a:xfrm>
          <a:custGeom>
            <a:avLst/>
            <a:gdLst/>
            <a:ahLst/>
            <a:cxnLst/>
            <a:rect l="l" t="t" r="r" b="b"/>
            <a:pathLst>
              <a:path w="2163841" h="2163841">
                <a:moveTo>
                  <a:pt x="0" y="0"/>
                </a:moveTo>
                <a:lnTo>
                  <a:pt x="2163841" y="0"/>
                </a:lnTo>
                <a:lnTo>
                  <a:pt x="2163841" y="2163841"/>
                </a:lnTo>
                <a:lnTo>
                  <a:pt x="0" y="216384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1" name="Freeform 21"/>
          <p:cNvSpPr/>
          <p:nvPr/>
        </p:nvSpPr>
        <p:spPr>
          <a:xfrm>
            <a:off x="7233838" y="4382345"/>
            <a:ext cx="1458079" cy="1458079"/>
          </a:xfrm>
          <a:custGeom>
            <a:avLst/>
            <a:gdLst/>
            <a:ahLst/>
            <a:cxnLst/>
            <a:rect l="l" t="t" r="r" b="b"/>
            <a:pathLst>
              <a:path w="2187118" h="2187118">
                <a:moveTo>
                  <a:pt x="0" y="0"/>
                </a:moveTo>
                <a:lnTo>
                  <a:pt x="2187118" y="0"/>
                </a:lnTo>
                <a:lnTo>
                  <a:pt x="2187118" y="2187118"/>
                </a:lnTo>
                <a:lnTo>
                  <a:pt x="0" y="218711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2" name="Freeform 22"/>
          <p:cNvSpPr/>
          <p:nvPr/>
        </p:nvSpPr>
        <p:spPr>
          <a:xfrm>
            <a:off x="9850227" y="4382345"/>
            <a:ext cx="1458079" cy="1458079"/>
          </a:xfrm>
          <a:custGeom>
            <a:avLst/>
            <a:gdLst/>
            <a:ahLst/>
            <a:cxnLst/>
            <a:rect l="l" t="t" r="r" b="b"/>
            <a:pathLst>
              <a:path w="2187118" h="2187118">
                <a:moveTo>
                  <a:pt x="0" y="0"/>
                </a:moveTo>
                <a:lnTo>
                  <a:pt x="2187118" y="0"/>
                </a:lnTo>
                <a:lnTo>
                  <a:pt x="2187118" y="2187118"/>
                </a:lnTo>
                <a:lnTo>
                  <a:pt x="0" y="218711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3" name="AutoShape 23"/>
          <p:cNvSpPr/>
          <p:nvPr/>
        </p:nvSpPr>
        <p:spPr>
          <a:xfrm>
            <a:off x="8691917" y="5160673"/>
            <a:ext cx="1174823" cy="0"/>
          </a:xfrm>
          <a:prstGeom prst="line">
            <a:avLst/>
          </a:prstGeom>
          <a:ln w="47625" cap="rnd">
            <a:solidFill>
              <a:srgbClr val="1C6434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4" name="AutoShape 24"/>
          <p:cNvSpPr/>
          <p:nvPr/>
        </p:nvSpPr>
        <p:spPr>
          <a:xfrm flipV="1">
            <a:off x="8677157" y="2090629"/>
            <a:ext cx="1162319" cy="0"/>
          </a:xfrm>
          <a:prstGeom prst="line">
            <a:avLst/>
          </a:prstGeom>
          <a:ln w="47625" cap="rnd">
            <a:solidFill>
              <a:srgbClr val="1C6434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5" name="TextBox 25"/>
          <p:cNvSpPr txBox="1"/>
          <p:nvPr/>
        </p:nvSpPr>
        <p:spPr>
          <a:xfrm>
            <a:off x="7534703" y="1797489"/>
            <a:ext cx="891365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056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1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10116044" y="1753246"/>
            <a:ext cx="891365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056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2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7562424" y="4923416"/>
            <a:ext cx="900954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10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3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0126239" y="4869005"/>
            <a:ext cx="900954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5110"/>
              </a:lnSpc>
              <a:spcBef>
                <a:spcPct val="0"/>
              </a:spcBef>
            </a:pPr>
            <a:r>
              <a:rPr lang="en-US" sz="4800">
                <a:solidFill>
                  <a:srgbClr val="FFFFFF"/>
                </a:solidFill>
                <a:latin typeface="Computer Says No"/>
                <a:ea typeface="Computer Says No"/>
                <a:cs typeface="Computer Says No"/>
                <a:sym typeface="Computer Says No"/>
              </a:rPr>
              <a:t>04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9573958" y="5866415"/>
            <a:ext cx="2153668" cy="5726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93"/>
              </a:lnSpc>
            </a:pP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56 %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tilgår</a:t>
            </a: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chatbotten</a:t>
            </a: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fra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mobiltelefon</a:t>
            </a:r>
            <a:endParaRPr lang="en-US" sz="1415">
              <a:solidFill>
                <a:srgbClr val="FFFFFF"/>
              </a:solidFill>
              <a:latin typeface="Poppins Light"/>
              <a:ea typeface="Poppins Light"/>
              <a:cs typeface="Poppins Light"/>
              <a:sym typeface="Poppins Light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6966536" y="5866415"/>
            <a:ext cx="2153668" cy="5726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93"/>
              </a:lnSpc>
            </a:pP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Tidsbestilling</a:t>
            </a: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fylder</a:t>
            </a: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39 %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af</a:t>
            </a:r>
            <a:r>
              <a:rPr lang="en-US" sz="1415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alle </a:t>
            </a:r>
            <a:r>
              <a:rPr lang="en-US" sz="1415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samtaler</a:t>
            </a:r>
            <a:endParaRPr lang="en-US" sz="1415">
              <a:solidFill>
                <a:srgbClr val="FFFFFF"/>
              </a:solidFill>
              <a:latin typeface="Poppins Light"/>
              <a:ea typeface="Poppins Light"/>
              <a:cs typeface="Poppins Light"/>
              <a:sym typeface="Poppins Light"/>
            </a:endParaRPr>
          </a:p>
        </p:txBody>
      </p:sp>
      <p:sp>
        <p:nvSpPr>
          <p:cNvPr id="31" name="TextBox 31"/>
          <p:cNvSpPr txBox="1"/>
          <p:nvPr/>
        </p:nvSpPr>
        <p:spPr>
          <a:xfrm>
            <a:off x="9495383" y="2966287"/>
            <a:ext cx="2130747" cy="8533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69"/>
              </a:lnSpc>
            </a:pP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5753 ratings med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en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gennemsnitsrating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på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2.13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ud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af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3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6916013" y="2966287"/>
            <a:ext cx="2130747" cy="8533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69"/>
              </a:lnSpc>
            </a:pP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84.000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samtaler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,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hvor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størstedelen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sker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</a:t>
            </a:r>
            <a:r>
              <a:rPr lang="en-US" sz="1400" err="1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mellem</a:t>
            </a:r>
            <a:r>
              <a:rPr lang="en-US" sz="14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rPr>
              <a:t> kl. 07-14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7154628" y="363206"/>
            <a:ext cx="3406129" cy="6474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4857"/>
              </a:lnSpc>
              <a:spcBef>
                <a:spcPct val="0"/>
              </a:spcBef>
            </a:pPr>
            <a:r>
              <a:rPr lang="en-US" sz="4906" spc="171">
                <a:solidFill>
                  <a:srgbClr val="FFFFFF"/>
                </a:solidFill>
                <a:latin typeface="Poppins"/>
                <a:ea typeface="Poppins"/>
                <a:cs typeface="Poppins"/>
                <a:sym typeface="Poppins"/>
              </a:rPr>
              <a:t>Data 2024</a:t>
            </a:r>
          </a:p>
        </p:txBody>
      </p:sp>
    </p:spTree>
    <p:extLst>
      <p:ext uri="{BB962C8B-B14F-4D97-AF65-F5344CB8AC3E}">
        <p14:creationId xmlns:p14="http://schemas.microsoft.com/office/powerpoint/2010/main" val="2924114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felt 11">
            <a:extLst>
              <a:ext uri="{FF2B5EF4-FFF2-40B4-BE49-F238E27FC236}">
                <a16:creationId xmlns:a16="http://schemas.microsoft.com/office/drawing/2014/main" id="{373F1FD8-FF0C-3902-E116-2169F77B8E2A}"/>
              </a:ext>
            </a:extLst>
          </p:cNvPr>
          <p:cNvSpPr txBox="1"/>
          <p:nvPr/>
        </p:nvSpPr>
        <p:spPr>
          <a:xfrm>
            <a:off x="644185" y="829642"/>
            <a:ext cx="995424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3600" b="1" err="1">
                <a:latin typeface="+mj-lt"/>
              </a:rPr>
              <a:t>Borgerne</a:t>
            </a:r>
            <a:r>
              <a:rPr lang="en-US" sz="3600" b="1">
                <a:latin typeface="+mj-lt"/>
              </a:rPr>
              <a:t> </a:t>
            </a:r>
            <a:r>
              <a:rPr lang="en-US" sz="3600" b="1" err="1">
                <a:latin typeface="+mj-lt"/>
              </a:rPr>
              <a:t>tilvælger</a:t>
            </a:r>
            <a:r>
              <a:rPr lang="en-US" sz="3600" b="1">
                <a:latin typeface="+mj-lt"/>
              </a:rPr>
              <a:t> </a:t>
            </a:r>
            <a:r>
              <a:rPr lang="en-US" sz="3600" b="1" err="1">
                <a:latin typeface="+mj-lt"/>
              </a:rPr>
              <a:t>chatbotten</a:t>
            </a:r>
            <a:endParaRPr lang="en-US" sz="3600" b="1">
              <a:latin typeface="+mj-lt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0B51F80-8B1E-7AE3-3F94-9CA1CD385B94}"/>
              </a:ext>
            </a:extLst>
          </p:cNvPr>
          <p:cNvSpPr/>
          <p:nvPr/>
        </p:nvSpPr>
        <p:spPr>
          <a:xfrm>
            <a:off x="7786540" y="0"/>
            <a:ext cx="4405460" cy="6858000"/>
          </a:xfrm>
          <a:prstGeom prst="rect">
            <a:avLst/>
          </a:prstGeom>
          <a:solidFill>
            <a:srgbClr val="51AF29"/>
          </a:solidFill>
          <a:ln>
            <a:solidFill>
              <a:srgbClr val="51AF2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CBF54D89-3ED9-A203-94A9-E5B7774060EB}"/>
              </a:ext>
            </a:extLst>
          </p:cNvPr>
          <p:cNvSpPr txBox="1"/>
          <p:nvPr/>
        </p:nvSpPr>
        <p:spPr>
          <a:xfrm>
            <a:off x="7965806" y="2030539"/>
            <a:ext cx="4046927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a-DK" sz="2800" b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I gennemsnit er </a:t>
            </a:r>
            <a:r>
              <a:rPr lang="da-DK" sz="6000" b="1">
                <a:solidFill>
                  <a:schemeClr val="bg1"/>
                </a:solidFill>
                <a:latin typeface="+mj-lt"/>
              </a:rPr>
              <a:t>29% </a:t>
            </a:r>
          </a:p>
          <a:p>
            <a:pPr marL="0" indent="0">
              <a:buNone/>
            </a:pPr>
            <a:r>
              <a:rPr lang="da-DK" sz="2800" b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f alle henvendelser i 2024 til DDH (kontaktcenter og chatbot) blevet besvaret af Chatbotte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FFB1C39-0923-4E59-AF04-2F12CA56D4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8083776"/>
              </p:ext>
            </p:extLst>
          </p:nvPr>
        </p:nvGraphicFramePr>
        <p:xfrm>
          <a:off x="711178" y="2030539"/>
          <a:ext cx="6358926" cy="372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97360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Historik</a:t>
            </a:r>
            <a:endParaRPr lang="en-US" sz="3948" spc="138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/>
          </a:p>
        </p:txBody>
      </p:sp>
      <p:graphicFrame>
        <p:nvGraphicFramePr>
          <p:cNvPr id="4" name="Pladsholder til indhold 2">
            <a:extLst>
              <a:ext uri="{FF2B5EF4-FFF2-40B4-BE49-F238E27FC236}">
                <a16:creationId xmlns:a16="http://schemas.microsoft.com/office/drawing/2014/main" id="{C1797DB2-C31B-C196-B495-A0DF6A9E02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977694"/>
              </p:ext>
            </p:extLst>
          </p:nvPr>
        </p:nvGraphicFramePr>
        <p:xfrm>
          <a:off x="685801" y="2371197"/>
          <a:ext cx="10722429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735216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Historik</a:t>
            </a:r>
            <a:r>
              <a:rPr lang="en-US" sz="3948" spc="138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 (</a:t>
            </a: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Fortsat</a:t>
            </a:r>
            <a:r>
              <a:rPr lang="en-US" sz="3948" spc="138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)</a:t>
            </a: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/>
          </a:p>
        </p:txBody>
      </p:sp>
      <p:graphicFrame>
        <p:nvGraphicFramePr>
          <p:cNvPr id="22" name="Pladsholder til indhold 2">
            <a:extLst>
              <a:ext uri="{FF2B5EF4-FFF2-40B4-BE49-F238E27FC236}">
                <a16:creationId xmlns:a16="http://schemas.microsoft.com/office/drawing/2014/main" id="{F60FDB72-0E9D-56BA-643C-1A0FE3DCD5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1761987"/>
              </p:ext>
            </p:extLst>
          </p:nvPr>
        </p:nvGraphicFramePr>
        <p:xfrm>
          <a:off x="1057380" y="2371197"/>
          <a:ext cx="9872871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93070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3908"/>
              </a:lnSpc>
              <a:spcBef>
                <a:spcPct val="0"/>
              </a:spcBef>
            </a:pP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Udbuddets</a:t>
            </a:r>
            <a:r>
              <a:rPr lang="en-US" sz="3948" spc="138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 </a:t>
            </a:r>
            <a:r>
              <a:rPr lang="en-US" sz="3948" spc="138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Tilslutning</a:t>
            </a:r>
            <a:endParaRPr lang="en-US" sz="3948" spc="138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 err="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1E26C65A-C0F2-5F34-ACCF-A5B85A479D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71621" y="419814"/>
            <a:ext cx="4228964" cy="59694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/>
          </a:p>
        </p:txBody>
      </p:sp>
      <p:sp>
        <p:nvSpPr>
          <p:cNvPr id="29" name="Pladsholder til indhold 2">
            <a:extLst>
              <a:ext uri="{FF2B5EF4-FFF2-40B4-BE49-F238E27FC236}">
                <a16:creationId xmlns:a16="http://schemas.microsoft.com/office/drawing/2014/main" id="{0A3C2A4C-6561-2EAC-B1CB-93535B6DFF6A}"/>
              </a:ext>
            </a:extLst>
          </p:cNvPr>
          <p:cNvSpPr txBox="1">
            <a:spLocks/>
          </p:cNvSpPr>
          <p:nvPr/>
        </p:nvSpPr>
        <p:spPr>
          <a:xfrm>
            <a:off x="858936" y="2574330"/>
            <a:ext cx="4657944" cy="354972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40 kommuner har tilsluttet sig udbuddet!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r>
              <a:rPr lang="da-DK"/>
              <a:t>Forskelligt niveau af parathed og erfaring blandt kommunerne</a:t>
            </a:r>
          </a:p>
          <a:p>
            <a:pPr marL="0" indent="0">
              <a:buNone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3557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1f27a57-5daa-4240-845d-578cc8bddeed" xsi:nil="true"/>
    <lcf76f155ced4ddcb4097134ff3c332f xmlns="a408f06c-1694-489f-9cdc-5efa500d75a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24B8291D849F4459D7AB60B6E79C880" ma:contentTypeVersion="18" ma:contentTypeDescription="Opret et nyt dokument." ma:contentTypeScope="" ma:versionID="9fc738c4435eeed51fb8d5e62744536a">
  <xsd:schema xmlns:xsd="http://www.w3.org/2001/XMLSchema" xmlns:xs="http://www.w3.org/2001/XMLSchema" xmlns:p="http://schemas.microsoft.com/office/2006/metadata/properties" xmlns:ns2="a408f06c-1694-489f-9cdc-5efa500d75a8" xmlns:ns3="31f27a57-5daa-4240-845d-578cc8bddeed" targetNamespace="http://schemas.microsoft.com/office/2006/metadata/properties" ma:root="true" ma:fieldsID="2935c841d6e6b1dc58282ee7ef173c85" ns2:_="" ns3:_="">
    <xsd:import namespace="a408f06c-1694-489f-9cdc-5efa500d75a8"/>
    <xsd:import namespace="31f27a57-5daa-4240-845d-578cc8bdde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8f06c-1694-489f-9cdc-5efa500d75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3fe80aff-8094-4148-a725-0517f31fcd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27a57-5daa-4240-845d-578cc8bddee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32aa115-c284-453e-8f37-5cfa47456063}" ma:internalName="TaxCatchAll" ma:showField="CatchAllData" ma:web="31f27a57-5daa-4240-845d-578cc8bdde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05F692-537B-47F2-AF0D-94B188BD8D08}">
  <ds:schemaRefs>
    <ds:schemaRef ds:uri="31f27a57-5daa-4240-845d-578cc8bddeed"/>
    <ds:schemaRef ds:uri="a408f06c-1694-489f-9cdc-5efa500d75a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D68F83D-F4F7-42B0-8DFD-10222BE2B3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3B9BE3-3053-4323-9DBE-099BAC6E9263}">
  <ds:schemaRefs>
    <ds:schemaRef ds:uri="31f27a57-5daa-4240-845d-578cc8bddeed"/>
    <ds:schemaRef ds:uri="a408f06c-1694-489f-9cdc-5efa500d75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7</Slides>
  <Notes>14</Notes>
  <HiddenSlides>6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Office-tema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Økonomi - Torben</vt:lpstr>
      <vt:lpstr>PowerPoint Presentation</vt:lpstr>
      <vt:lpstr>PowerPoint Presentation</vt:lpstr>
      <vt:lpstr>PowerPoint Presentation</vt:lpstr>
      <vt:lpstr>Økonomi - Torben</vt:lpstr>
      <vt:lpstr>Økonomi - Torben</vt:lpstr>
      <vt:lpstr>Økonomi - Torben</vt:lpstr>
      <vt:lpstr>Økonomi - Torbe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arhus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kke Bækgaard Christensen</dc:creator>
  <cp:revision>1</cp:revision>
  <cp:lastPrinted>2024-11-26T10:05:53Z</cp:lastPrinted>
  <dcterms:created xsi:type="dcterms:W3CDTF">2024-11-01T07:14:34Z</dcterms:created>
  <dcterms:modified xsi:type="dcterms:W3CDTF">2024-11-26T10:0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4B8291D849F4459D7AB60B6E79C880</vt:lpwstr>
  </property>
  <property fmtid="{D5CDD505-2E9C-101B-9397-08002B2CF9AE}" pid="3" name="MediaServiceImageTags">
    <vt:lpwstr/>
  </property>
</Properties>
</file>